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5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6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3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4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  <p:sldMasterId id="2147483677" r:id="rId6"/>
    <p:sldMasterId id="2147483702" r:id="rId7"/>
    <p:sldMasterId id="2147483738" r:id="rId8"/>
    <p:sldMasterId id="2147483763" r:id="rId9"/>
    <p:sldMasterId id="2147483788" r:id="rId10"/>
  </p:sldMasterIdLst>
  <p:notesMasterIdLst>
    <p:notesMasterId r:id="rId16"/>
  </p:notesMasterIdLst>
  <p:handoutMasterIdLst>
    <p:handoutMasterId r:id="rId17"/>
  </p:handoutMasterIdLst>
  <p:sldIdLst>
    <p:sldId id="256" r:id="rId11"/>
    <p:sldId id="9633" r:id="rId12"/>
    <p:sldId id="9635" r:id="rId13"/>
    <p:sldId id="9637" r:id="rId14"/>
    <p:sldId id="9639" r:id="rId15"/>
  </p:sldIdLst>
  <p:sldSz cx="12192000" cy="6858000"/>
  <p:notesSz cx="7172325" cy="93853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AD22E02-AA12-4ACA-805B-139761ECD143}">
          <p14:sldIdLst>
            <p14:sldId id="256"/>
            <p14:sldId id="9633"/>
          </p14:sldIdLst>
        </p14:section>
        <p14:section name="Untitled Section" id="{BC6BC2E8-E378-4B01-815F-F32DFCBCBEC3}">
          <p14:sldIdLst>
            <p14:sldId id="9635"/>
            <p14:sldId id="9637"/>
            <p14:sldId id="9639"/>
          </p14:sldIdLst>
        </p14:section>
      </p14:sectionLst>
    </p:ex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Belina, Ann Elise" initials="DAE" lastIdx="1" clrIdx="0">
    <p:extLst>
      <p:ext uri="{19B8F6BF-5375-455C-9EA6-DF929625EA0E}">
        <p15:presenceInfo xmlns:p15="http://schemas.microsoft.com/office/powerpoint/2012/main" xmlns="" userId="S::AnnElise.DeBelina@oliverwyman.com::ecb109ef-53d6-4640-b000-c37d3b836d44" providerId="AD"/>
      </p:ext>
    </p:extLst>
  </p:cmAuthor>
  <p:cmAuthor id="2" name="Egl, Ed" initials="EE" lastIdx="1" clrIdx="1">
    <p:extLst>
      <p:ext uri="{19B8F6BF-5375-455C-9EA6-DF929625EA0E}">
        <p15:presenceInfo xmlns:p15="http://schemas.microsoft.com/office/powerpoint/2012/main" xmlns="" userId="S::Eegl@wm.com::ebdbde79-f6b9-47da-b0e2-dd92b17f6e54" providerId="AD"/>
      </p:ext>
    </p:extLst>
  </p:cmAuthor>
  <p:cmAuthor id="3" name="Davis, Eric" initials="DE" lastIdx="2" clrIdx="2">
    <p:extLst>
      <p:ext uri="{19B8F6BF-5375-455C-9EA6-DF929625EA0E}">
        <p15:presenceInfo xmlns:p15="http://schemas.microsoft.com/office/powerpoint/2012/main" xmlns="" userId="S::edavis@wm.com::5ad751b3-31ba-404f-9ede-230133f7b7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B800"/>
    <a:srgbClr val="FDFCFA"/>
    <a:srgbClr val="EEF0EA"/>
    <a:srgbClr val="065920"/>
    <a:srgbClr val="BED600"/>
    <a:srgbClr val="FECB00"/>
    <a:srgbClr val="7AB800"/>
    <a:srgbClr val="B3D48E"/>
    <a:srgbClr val="00693C"/>
    <a:srgbClr val="0247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7" autoAdjust="0"/>
    <p:restoredTop sz="95664" autoAdjust="0"/>
  </p:normalViewPr>
  <p:slideViewPr>
    <p:cSldViewPr snapToGrid="0" showGuides="1">
      <p:cViewPr>
        <p:scale>
          <a:sx n="110" d="100"/>
          <a:sy n="110" d="100"/>
        </p:scale>
        <p:origin x="-82" y="-19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-2437"/>
    </p:cViewPr>
  </p:sorterViewPr>
  <p:notesViewPr>
    <p:cSldViewPr snapToGrid="0">
      <p:cViewPr varScale="1">
        <p:scale>
          <a:sx n="69" d="100"/>
          <a:sy n="69" d="100"/>
        </p:scale>
        <p:origin x="1107" y="2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6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08008" cy="470895"/>
          </a:xfrm>
          <a:prstGeom prst="rect">
            <a:avLst/>
          </a:prstGeom>
        </p:spPr>
        <p:txBody>
          <a:bodyPr vert="horz" lIns="94613" tIns="47306" rIns="94613" bIns="4730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62658" y="0"/>
            <a:ext cx="3108008" cy="470895"/>
          </a:xfrm>
          <a:prstGeom prst="rect">
            <a:avLst/>
          </a:prstGeom>
        </p:spPr>
        <p:txBody>
          <a:bodyPr vert="horz" lIns="94613" tIns="47306" rIns="94613" bIns="47306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GB" smtClean="0"/>
              <a:t>14/05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4407"/>
            <a:ext cx="3108008" cy="470894"/>
          </a:xfrm>
          <a:prstGeom prst="rect">
            <a:avLst/>
          </a:prstGeom>
        </p:spPr>
        <p:txBody>
          <a:bodyPr vert="horz" lIns="94613" tIns="47306" rIns="94613" bIns="4730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62658" y="8914407"/>
            <a:ext cx="3108008" cy="470894"/>
          </a:xfrm>
          <a:prstGeom prst="rect">
            <a:avLst/>
          </a:prstGeom>
        </p:spPr>
        <p:txBody>
          <a:bodyPr vert="horz" lIns="94613" tIns="47306" rIns="94613" bIns="47306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08008" cy="470895"/>
          </a:xfrm>
          <a:prstGeom prst="rect">
            <a:avLst/>
          </a:prstGeom>
        </p:spPr>
        <p:txBody>
          <a:bodyPr vert="horz" lIns="94613" tIns="47306" rIns="94613" bIns="4730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62658" y="0"/>
            <a:ext cx="3108008" cy="470895"/>
          </a:xfrm>
          <a:prstGeom prst="rect">
            <a:avLst/>
          </a:prstGeom>
        </p:spPr>
        <p:txBody>
          <a:bodyPr vert="horz" lIns="94613" tIns="47306" rIns="94613" bIns="47306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GB" smtClean="0"/>
              <a:t>14/05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1525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13" tIns="47306" rIns="94613" bIns="4730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7233" y="4516676"/>
            <a:ext cx="5737860" cy="3695462"/>
          </a:xfrm>
          <a:prstGeom prst="rect">
            <a:avLst/>
          </a:prstGeom>
        </p:spPr>
        <p:txBody>
          <a:bodyPr vert="horz" lIns="94613" tIns="47306" rIns="94613" bIns="47306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4407"/>
            <a:ext cx="3108008" cy="470894"/>
          </a:xfrm>
          <a:prstGeom prst="rect">
            <a:avLst/>
          </a:prstGeom>
        </p:spPr>
        <p:txBody>
          <a:bodyPr vert="horz" lIns="94613" tIns="47306" rIns="94613" bIns="4730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62658" y="8914407"/>
            <a:ext cx="3108008" cy="470894"/>
          </a:xfrm>
          <a:prstGeom prst="rect">
            <a:avLst/>
          </a:prstGeom>
        </p:spPr>
        <p:txBody>
          <a:bodyPr vert="horz" lIns="94613" tIns="47306" rIns="94613" bIns="47306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0859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20622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8541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0119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2566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6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Relationship Id="rId9" Type="http://schemas.openxmlformats.org/officeDocument/2006/relationships/image" Target="../media/image5.sv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Relationship Id="rId9" Type="http://schemas.openxmlformats.org/officeDocument/2006/relationships/image" Target="../media/image5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4.bin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5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5.sv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B50FE48-9B3E-41BC-9BCB-A7C0ADD4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2382470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F1B4517-D350-4C71-BE85-080BD7DA32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68" y="391996"/>
            <a:ext cx="2617241" cy="758412"/>
          </a:xfrm>
          <a:prstGeom prst="rect">
            <a:avLst/>
          </a:prstGeom>
        </p:spPr>
      </p:pic>
      <p:pic>
        <p:nvPicPr>
          <p:cNvPr id="7" name="Picture 6" descr="30_WM_Leaf_1_9x9_150ppi_RGB.jpg">
            <a:extLst>
              <a:ext uri="{FF2B5EF4-FFF2-40B4-BE49-F238E27FC236}">
                <a16:creationId xmlns:a16="http://schemas.microsoft.com/office/drawing/2014/main" xmlns="" id="{395EE753-6018-481E-AF79-026763FE6F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4801810" y="1020983"/>
            <a:ext cx="7390190" cy="5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8559" y="1892263"/>
            <a:ext cx="10369006" cy="379206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8559" y="2393267"/>
            <a:ext cx="6162679" cy="379206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8559" y="4426238"/>
            <a:ext cx="6162679" cy="276999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A748558F-AC45-4C88-ADAF-342B0C8237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51464" y="6475816"/>
            <a:ext cx="1815964" cy="15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288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1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7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90710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D56D263-F30E-4D0A-A951-00B63EE6EF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D56D263-F30E-4D0A-A951-00B63EE6EF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49E91C5-3FC6-4354-BEDF-C414B8556E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3726544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3618959-8BB1-43C2-9FC7-80CCB8FDE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3618959-8BB1-43C2-9FC7-80CCB8FDE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738A23F-FA24-4944-AC3A-8B00D56697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90430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5" orient="horz" pos="2344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EBB8E2FF-3A98-4763-9E44-DCD881C1D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xmlns="" id="{EBB8E2FF-3A98-4763-9E44-DCD881C1D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662F2835-387F-4788-B5DB-04F72BDF16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131635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8" orient="horz" pos="2523" userDrawn="1">
          <p15:clr>
            <a:srgbClr val="FBAE40"/>
          </p15:clr>
        </p15:guide>
        <p15:guide id="10" orient="horz" pos="2828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755BBF8-438E-4B59-AB19-092D8D42E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755BBF8-438E-4B59-AB19-092D8D42E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EABDEBB-83F4-49B1-8EC7-7438D1F71A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96711869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7" orient="horz" pos="2523" userDrawn="1">
          <p15:clr>
            <a:srgbClr val="FBAE40"/>
          </p15:clr>
        </p15:guide>
        <p15:guide id="9" orient="horz" pos="2828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9379193-B31E-4DC2-BD6D-37AF192F3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9379193-B31E-4DC2-BD6D-37AF192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7F5DA97E-38A3-474B-AE6B-A233CD438E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80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80" y="1883664"/>
            <a:ext cx="7164251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511237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1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CF7E82D-C26A-40F2-AA63-B0124E88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9CF7E82D-C26A-40F2-AA63-B0124E88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2DB097B-4B7E-40AF-8371-D3DA9375AF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3" y="1883664"/>
            <a:ext cx="7164251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207418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879" userDrawn="1">
          <p15:clr>
            <a:srgbClr val="FBAE40"/>
          </p15:clr>
        </p15:guide>
        <p15:guide id="2" pos="5244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EF4B4DB-CB53-40A7-A400-B22C83A47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EF4B4DB-CB53-40A7-A400-B22C83A47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8964139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00941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B50FE48-9B3E-41BC-9BCB-A7C0ADD4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0B50FE48-9B3E-41BC-9BCB-A7C0ADD46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F1B4517-D350-4C71-BE85-080BD7DA32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70" y="391996"/>
            <a:ext cx="2617241" cy="758412"/>
          </a:xfrm>
          <a:prstGeom prst="rect">
            <a:avLst/>
          </a:prstGeom>
        </p:spPr>
      </p:pic>
      <p:pic>
        <p:nvPicPr>
          <p:cNvPr id="7" name="Picture 6" descr="30_WM_Leaf_1_9x9_150ppi_RGB.jpg">
            <a:extLst>
              <a:ext uri="{FF2B5EF4-FFF2-40B4-BE49-F238E27FC236}">
                <a16:creationId xmlns:a16="http://schemas.microsoft.com/office/drawing/2014/main" xmlns="" id="{395EE753-6018-481E-AF79-026763FE6F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4801814" y="1020983"/>
            <a:ext cx="7390190" cy="5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8559" y="1892266"/>
            <a:ext cx="10369006" cy="36118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8560" y="2393271"/>
            <a:ext cx="6162681" cy="361189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8560" y="4426237"/>
            <a:ext cx="6162681" cy="263790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714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A748558F-AC45-4C88-ADAF-342B0C8237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51464" y="6475816"/>
            <a:ext cx="1815964" cy="15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9240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0BCECA9-E74F-48C2-8321-DD9296970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0BCECA9-E74F-48C2-8321-DD9296970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B2C27A6-89EC-4A30-8404-846271180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7003" y="-2667002"/>
            <a:ext cx="6858000" cy="12192004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60067" y="1047754"/>
            <a:ext cx="8287175" cy="83820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60067" y="384180"/>
            <a:ext cx="8287175" cy="454025"/>
          </a:xfrm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5" kern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887108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80481522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9049A33-4B8D-49E6-B19B-6209D2ED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9049A33-4B8D-49E6-B19B-6209D2ED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A83814-1EBC-40C1-8C9B-6BC73D4F4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7896" y="-3776753"/>
            <a:ext cx="2316208" cy="1219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0E5CE5D-B264-454B-970C-1ADEDE049FFE}"/>
              </a:ext>
            </a:extLst>
          </p:cNvPr>
          <p:cNvSpPr/>
          <p:nvPr userDrawn="1"/>
        </p:nvSpPr>
        <p:spPr>
          <a:xfrm rot="16200000">
            <a:off x="5047406" y="-3667248"/>
            <a:ext cx="2078763" cy="12210434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69" tIns="69669" rIns="69669" bIns="69669" rtlCol="0" anchor="ctr"/>
          <a:lstStyle/>
          <a:p>
            <a:pPr algn="ctr"/>
            <a:endParaRPr lang="en-GB" sz="952" kern="0" dirty="0">
              <a:solidFill>
                <a:schemeClr val="tx1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2" y="5463008"/>
            <a:ext cx="11611429" cy="820866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="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="0">
                <a:solidFill>
                  <a:schemeClr val="tx2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1"/>
            <a:r>
              <a:rPr dirty="0"/>
              <a:t>Click to add section title</a:t>
            </a:r>
          </a:p>
          <a:p>
            <a:pPr lvl="2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3" y="4249017"/>
            <a:ext cx="3686168" cy="635173"/>
          </a:xfrm>
          <a:noFill/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48" b="0" kern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26874480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9052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898435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71422015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4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54037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4" y="1883664"/>
            <a:ext cx="11030857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4" y="400507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4" y="4489704"/>
            <a:ext cx="11030857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864268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  <p15:guide id="6" orient="horz" pos="2828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4" y="1399032"/>
            <a:ext cx="5225143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7" y="1399032"/>
            <a:ext cx="5225143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97965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4" y="1883664"/>
            <a:ext cx="5225143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7" y="1883664"/>
            <a:ext cx="5225143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072094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4456326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4" y="139903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39903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4" y="400507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00507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15718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3" orient="horz" pos="2344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39903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39903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00507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00507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18577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3" orient="horz" pos="2344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4" y="188366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88366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4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4" y="448970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48970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57274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  <p15:guide id="8" orient="horz" pos="2828" userDrawn="1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4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355566428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5" orient="horz" pos="2523" userDrawn="1">
          <p15:clr>
            <a:srgbClr val="FBAE40"/>
          </p15:clr>
        </p15:guide>
        <p15:guide id="7" orient="horz" pos="2828" userDrawn="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058997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653030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59241996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37702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5" orient="horz" pos="2344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682532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8" orient="horz" pos="2523" userDrawn="1">
          <p15:clr>
            <a:srgbClr val="FBAE40"/>
          </p15:clr>
        </p15:guide>
        <p15:guide id="10" orient="horz" pos="2828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78158135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7" orient="horz" pos="2523" userDrawn="1">
          <p15:clr>
            <a:srgbClr val="FBAE40"/>
          </p15:clr>
        </p15:guide>
        <p15:guide id="9" orient="horz" pos="2828" userDrawn="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80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80" y="1883664"/>
            <a:ext cx="7164251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2405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1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3" y="1883664"/>
            <a:ext cx="7164251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882893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879" userDrawn="1">
          <p15:clr>
            <a:srgbClr val="FBAE40"/>
          </p15:clr>
        </p15:guide>
        <p15:guide id="2" pos="5244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88366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88366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48970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48970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528928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  <p15:guide id="8" orient="horz" pos="2828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30231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381990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B50FE48-9B3E-41BC-9BCB-A7C0ADD4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0B50FE48-9B3E-41BC-9BCB-A7C0ADD46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F1B4517-D350-4C71-BE85-080BD7DA32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68" y="391996"/>
            <a:ext cx="2617241" cy="758412"/>
          </a:xfrm>
          <a:prstGeom prst="rect">
            <a:avLst/>
          </a:prstGeom>
        </p:spPr>
      </p:pic>
      <p:pic>
        <p:nvPicPr>
          <p:cNvPr id="7" name="Picture 6" descr="30_WM_Leaf_1_9x9_150ppi_RGB.jpg">
            <a:extLst>
              <a:ext uri="{FF2B5EF4-FFF2-40B4-BE49-F238E27FC236}">
                <a16:creationId xmlns:a16="http://schemas.microsoft.com/office/drawing/2014/main" xmlns="" id="{395EE753-6018-481E-AF79-026763FE6F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4801810" y="1020983"/>
            <a:ext cx="7390190" cy="5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8559" y="1892263"/>
            <a:ext cx="10369006" cy="379206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8559" y="2393267"/>
            <a:ext cx="6162679" cy="379206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8559" y="4426238"/>
            <a:ext cx="6162679" cy="276999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A748558F-AC45-4C88-ADAF-342B0C8237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51464" y="6475816"/>
            <a:ext cx="1815964" cy="15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56568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0BCECA9-E74F-48C2-8321-DD9296970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0BCECA9-E74F-48C2-8321-DD9296970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B2C27A6-89EC-4A30-8404-846271180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7003" y="-2667002"/>
            <a:ext cx="6858000" cy="12192004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60066" y="1047752"/>
            <a:ext cx="8287175" cy="83820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Click to add section title</a:t>
            </a:r>
          </a:p>
          <a:p>
            <a:pPr lvl="1"/>
            <a:r>
              <a:rPr lang="en-US"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60066" y="384178"/>
            <a:ext cx="8287175" cy="454025"/>
          </a:xfrm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kern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00036670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9049A33-4B8D-49E6-B19B-6209D2ED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9049A33-4B8D-49E6-B19B-6209D2ED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A83814-1EBC-40C1-8C9B-6BC73D4F4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7896" y="-3776753"/>
            <a:ext cx="2316208" cy="1219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0E5CE5D-B264-454B-970C-1ADEDE049FFE}"/>
              </a:ext>
            </a:extLst>
          </p:cNvPr>
          <p:cNvSpPr/>
          <p:nvPr userDrawn="1"/>
        </p:nvSpPr>
        <p:spPr>
          <a:xfrm rot="16200000">
            <a:off x="5047405" y="-3667248"/>
            <a:ext cx="2078763" cy="12210434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US" sz="1000" kern="0" dirty="0">
              <a:solidFill>
                <a:schemeClr val="tx1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1" y="5463007"/>
            <a:ext cx="11611429" cy="861774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chemeClr val="tx2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1"/>
            <a:r>
              <a:rPr lang="en-US" dirty="0"/>
              <a:t>Click to add section title</a:t>
            </a:r>
          </a:p>
          <a:p>
            <a:pPr lvl="2"/>
            <a:r>
              <a:rPr lang="en-US"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3" y="4249015"/>
            <a:ext cx="3686168" cy="635173"/>
          </a:xfrm>
          <a:noFill/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kern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5689820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C9DA50B-9ACB-4A5B-AE9F-9458FF0D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BC9DA50B-9ACB-4A5B-AE9F-9458FF0D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E492DEA-D5D6-4DA1-925A-40C234638A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081462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58DC4C3-3F8C-4181-8F81-1E65B5957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58DC4C3-3F8C-4181-8F81-1E65B5957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6C414B0-EB49-4291-9FBD-062D58EBE3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927399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35ED5EA-5F5E-4AA4-84A4-7FEED305B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35ED5EA-5F5E-4AA4-84A4-7FEED305B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DEC010B-4D16-4A91-8320-D91D1E3506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81208005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E54EF77-16B4-4873-8633-8A80C0FB07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E54EF77-16B4-4873-8633-8A80C0FB07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BC7F520-B8C3-47DD-894C-CBA3FD04FE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4 pt</a:t>
            </a:r>
          </a:p>
          <a:p>
            <a:pPr lvl="1"/>
            <a:r>
              <a:rPr lang="en-US"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3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312229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9D4E0E3-0539-41F4-B573-D2212A0ED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9D4E0E3-0539-41F4-B573-D2212A0ED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D6458944-3BE8-455C-8158-88F940E8FE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3" y="188366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3" y="400507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3" y="448970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698641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  <p15:guide id="6" orient="horz" pos="282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96721094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5" orient="horz" pos="2523" userDrawn="1">
          <p15:clr>
            <a:srgbClr val="FBAE40"/>
          </p15:clr>
        </p15:guide>
        <p15:guide id="7" orient="horz" pos="2828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CF666B9-61CC-4C7D-BB21-7981EF555B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CF666B9-61CC-4C7D-BB21-7981EF55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BAB98CD4-5AE7-404C-86C9-A00BD30D84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1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7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696711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A6842D3C-3FBF-4528-AC3C-C1E2EA141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A6842D3C-3FBF-4528-AC3C-C1E2EA141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2437173-FEB3-4C7E-B619-127E821624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1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7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25389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28B276E-F4E6-4ACF-A151-FA4A19F5F6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28B276E-F4E6-4ACF-A151-FA4A19F5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95D68B2-4C17-4F08-B597-C01487D82E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8891052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1DDB7E5-1C38-476A-AC4D-037662AF05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31DDB7E5-1C38-476A-AC4D-037662AF0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E3763F8-8DD7-42B0-A982-A8C348D3D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39903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39903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00507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00507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561412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3" orient="horz" pos="2344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xmlns="" id="{447A5C83-9480-49CF-98B9-92DFCC4FE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xmlns="" id="{447A5C83-9480-49CF-98B9-92DFCC4FE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064BDCE6-4697-42CD-B66C-72B9B2AC78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88366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88366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48970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48970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65811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  <p15:guide id="8" orient="horz" pos="2828" userDrawn="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E56F774B-EC7D-4CF3-8F1C-C3F325FC7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E56F774B-EC7D-4CF3-8F1C-C3F325FC7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4F84A16-ACEF-4AEF-964E-AE37EB243D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11771229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5" orient="horz" pos="2523" userDrawn="1">
          <p15:clr>
            <a:srgbClr val="FBAE40"/>
          </p15:clr>
        </p15:guide>
        <p15:guide id="7" orient="horz" pos="2828" userDrawn="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BEC66E8-91C6-4515-B678-5B31024E35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BEC66E8-91C6-4515-B678-5B31024E3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C732B34-0D06-4C45-97BB-946CCD2EFA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515348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549A79F6-CBC9-41E0-A324-A8BC46BE9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549A79F6-CBC9-41E0-A324-A8BC46BE9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B2AC981-D7DC-41B2-8291-5E321DFBEC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961191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D56D263-F30E-4D0A-A951-00B63EE6EF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D56D263-F30E-4D0A-A951-00B63EE6EF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49E91C5-3FC6-4354-BEDF-C414B8556E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299137185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3618959-8BB1-43C2-9FC7-80CCB8FDE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3618959-8BB1-43C2-9FC7-80CCB8FDE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738A23F-FA24-4944-AC3A-8B00D56697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81966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5" orient="horz" pos="2344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3634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EBB8E2FF-3A98-4763-9E44-DCD881C1D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xmlns="" id="{EBB8E2FF-3A98-4763-9E44-DCD881C1D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662F2835-387F-4788-B5DB-04F72BDF16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528645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8" orient="horz" pos="2523" userDrawn="1">
          <p15:clr>
            <a:srgbClr val="FBAE40"/>
          </p15:clr>
        </p15:guide>
        <p15:guide id="10" orient="horz" pos="2828" userDrawn="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755BBF8-438E-4B59-AB19-092D8D42E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755BBF8-438E-4B59-AB19-092D8D42E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EABDEBB-83F4-49B1-8EC7-7438D1F71A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92842857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7" orient="horz" pos="2523" userDrawn="1">
          <p15:clr>
            <a:srgbClr val="FBAE40"/>
          </p15:clr>
        </p15:guide>
        <p15:guide id="9" orient="horz" pos="2828" userDrawn="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9379193-B31E-4DC2-BD6D-37AF192F3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9379193-B31E-4DC2-BD6D-37AF192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7F5DA97E-38A3-474B-AE6B-A233CD438E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77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77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01628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1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CF7E82D-C26A-40F2-AA63-B0124E88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9CF7E82D-C26A-40F2-AA63-B0124E88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2DB097B-4B7E-40AF-8371-D3DA9375AF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3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349858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879" userDrawn="1">
          <p15:clr>
            <a:srgbClr val="FBAE40"/>
          </p15:clr>
        </p15:guide>
        <p15:guide id="2" pos="5244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EF4B4DB-CB53-40A7-A400-B22C83A47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EF4B4DB-CB53-40A7-A400-B22C83A47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352504527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95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23878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76128042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382841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5" orient="horz" pos="2344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476643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8" orient="horz" pos="2523" userDrawn="1">
          <p15:clr>
            <a:srgbClr val="FBAE40"/>
          </p15:clr>
        </p15:guide>
        <p15:guide id="10" orient="horz" pos="282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0BCECA9-E74F-48C2-8321-DD9296970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829075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B2C27A6-89EC-4A30-8404-846271180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7003" y="-2667002"/>
            <a:ext cx="6858000" cy="12192004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60066" y="1047752"/>
            <a:ext cx="8287175" cy="83820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60066" y="384178"/>
            <a:ext cx="8287175" cy="454025"/>
          </a:xfrm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kern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21226891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36596529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7" orient="horz" pos="2523" userDrawn="1">
          <p15:clr>
            <a:srgbClr val="FBAE40"/>
          </p15:clr>
        </p15:guide>
        <p15:guide id="9" orient="horz" pos="282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77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77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09910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1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3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636598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879" userDrawn="1">
          <p15:clr>
            <a:srgbClr val="FBAE40"/>
          </p15:clr>
        </p15:guide>
        <p15:guide id="2" pos="5244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395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18852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B50FE48-9B3E-41BC-9BCB-A7C0ADD4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0B50FE48-9B3E-41BC-9BCB-A7C0ADD46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F1B4517-D350-4C71-BE85-080BD7DA32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68" y="391996"/>
            <a:ext cx="2617241" cy="758412"/>
          </a:xfrm>
          <a:prstGeom prst="rect">
            <a:avLst/>
          </a:prstGeom>
        </p:spPr>
      </p:pic>
      <p:pic>
        <p:nvPicPr>
          <p:cNvPr id="7" name="Picture 6" descr="30_WM_Leaf_1_9x9_150ppi_RGB.jpg">
            <a:extLst>
              <a:ext uri="{FF2B5EF4-FFF2-40B4-BE49-F238E27FC236}">
                <a16:creationId xmlns:a16="http://schemas.microsoft.com/office/drawing/2014/main" xmlns="" id="{395EE753-6018-481E-AF79-026763FE6F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4801810" y="1020983"/>
            <a:ext cx="7390190" cy="5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8559" y="1892263"/>
            <a:ext cx="10369006" cy="379206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8559" y="2393267"/>
            <a:ext cx="6162679" cy="379206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8559" y="4426238"/>
            <a:ext cx="6162679" cy="276999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 dirty="0"/>
              <a:t>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A748558F-AC45-4C88-ADAF-342B0C8237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51464" y="6475816"/>
            <a:ext cx="1815964" cy="15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338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0BCECA9-E74F-48C2-8321-DD9296970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0BCECA9-E74F-48C2-8321-DD9296970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B2C27A6-89EC-4A30-8404-846271180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7003" y="-2667002"/>
            <a:ext cx="6858000" cy="12192004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60066" y="1047752"/>
            <a:ext cx="8287175" cy="83820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Click to add section title</a:t>
            </a:r>
          </a:p>
          <a:p>
            <a:pPr lvl="1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60066" y="384178"/>
            <a:ext cx="8287175" cy="454025"/>
          </a:xfrm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kern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4507851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9049A33-4B8D-49E6-B19B-6209D2ED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9049A33-4B8D-49E6-B19B-6209D2ED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A83814-1EBC-40C1-8C9B-6BC73D4F4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7896" y="-3776753"/>
            <a:ext cx="2316208" cy="1219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0E5CE5D-B264-454B-970C-1ADEDE049FFE}"/>
              </a:ext>
            </a:extLst>
          </p:cNvPr>
          <p:cNvSpPr/>
          <p:nvPr userDrawn="1"/>
        </p:nvSpPr>
        <p:spPr>
          <a:xfrm rot="16200000">
            <a:off x="5047405" y="-3667248"/>
            <a:ext cx="2078763" cy="12210434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>
              <a:solidFill>
                <a:schemeClr val="tx1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1" y="5463007"/>
            <a:ext cx="11611429" cy="861774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chemeClr val="tx2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1"/>
            <a:r>
              <a:rPr dirty="0"/>
              <a:t>Click to add section title</a:t>
            </a:r>
          </a:p>
          <a:p>
            <a:pPr lvl="2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3" y="4249015"/>
            <a:ext cx="3686168" cy="635173"/>
          </a:xfrm>
          <a:noFill/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kern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9877247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469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0118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9049A33-4B8D-49E6-B19B-6209D2ED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552107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A83814-1EBC-40C1-8C9B-6BC73D4F4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7896" y="-3776753"/>
            <a:ext cx="2316208" cy="1219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0E5CE5D-B264-454B-970C-1ADEDE049FFE}"/>
              </a:ext>
            </a:extLst>
          </p:cNvPr>
          <p:cNvSpPr/>
          <p:nvPr userDrawn="1"/>
        </p:nvSpPr>
        <p:spPr>
          <a:xfrm rot="16200000">
            <a:off x="5047405" y="-3667248"/>
            <a:ext cx="2078763" cy="12210434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>
              <a:solidFill>
                <a:schemeClr val="tx1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1" y="5463007"/>
            <a:ext cx="11611429" cy="861774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chemeClr val="tx2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1"/>
            <a:r>
              <a:rPr dirty="0"/>
              <a:t>Click to add section title</a:t>
            </a:r>
          </a:p>
          <a:p>
            <a:pPr lvl="2"/>
            <a:r>
              <a:rPr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3" y="4249015"/>
            <a:ext cx="3686168" cy="635173"/>
          </a:xfrm>
          <a:noFill/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kern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21012226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91969109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3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806362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3" y="188366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3" y="400507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3" y="448970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07562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  <p15:guide id="6" orient="horz" pos="282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1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7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8530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1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7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041307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61749319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39903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39903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00507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005072"/>
            <a:ext cx="5225143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0629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3" orient="horz" pos="2344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88366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88366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48970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489704"/>
            <a:ext cx="5225143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12069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  <p15:guide id="8" orient="horz" pos="282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7434071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5" orient="horz" pos="2523" userDrawn="1">
          <p15:clr>
            <a:srgbClr val="FBAE40"/>
          </p15:clr>
        </p15:guide>
        <p15:guide id="7" orient="horz" pos="2828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278297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2239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55200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230942072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415698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5" orient="horz" pos="2344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7996" indent="-107996">
              <a:spcBef>
                <a:spcPts val="600"/>
              </a:spcBef>
              <a:defRPr sz="1000" dirty="0" smtClean="0"/>
            </a:lvl1pPr>
            <a:lvl2pPr marL="215993" indent="-107996">
              <a:spcBef>
                <a:spcPts val="200"/>
              </a:spcBef>
              <a:defRPr sz="1000" dirty="0" smtClean="0"/>
            </a:lvl2pPr>
            <a:lvl3pPr marL="323989" indent="-107996">
              <a:spcBef>
                <a:spcPts val="200"/>
              </a:spcBef>
              <a:defRPr sz="1000" dirty="0" smtClean="0"/>
            </a:lvl3pPr>
            <a:lvl4pPr marL="431986" indent="-107996">
              <a:spcBef>
                <a:spcPts val="200"/>
              </a:spcBef>
              <a:defRPr sz="1000" dirty="0" smtClean="0"/>
            </a:lvl4pPr>
            <a:lvl5pPr marL="539982" indent="-107996">
              <a:spcBef>
                <a:spcPts val="200"/>
              </a:spcBef>
              <a:defRPr sz="1000" dirty="0" smtClean="0"/>
            </a:lvl5pPr>
            <a:lvl6pPr marL="647979" indent="-107996">
              <a:spcBef>
                <a:spcPts val="200"/>
              </a:spcBef>
              <a:defRPr sz="1000" dirty="0" smtClean="0"/>
            </a:lvl6pPr>
            <a:lvl7pPr marL="755976" indent="-107996">
              <a:spcBef>
                <a:spcPts val="200"/>
              </a:spcBef>
              <a:defRPr sz="1000" dirty="0" smtClean="0"/>
            </a:lvl7pPr>
            <a:lvl8pPr marL="863972" indent="-107996">
              <a:spcBef>
                <a:spcPts val="200"/>
              </a:spcBef>
              <a:defRPr sz="1000" dirty="0" smtClean="0"/>
            </a:lvl8pPr>
            <a:lvl9pPr marL="971969" indent="-107996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87403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8" orient="horz" pos="2523" userDrawn="1">
          <p15:clr>
            <a:srgbClr val="FBAE40"/>
          </p15:clr>
        </p15:guide>
        <p15:guide id="10" orient="horz" pos="2828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0 pt</a:t>
            </a:r>
          </a:p>
          <a:p>
            <a:pPr lvl="1"/>
            <a:r>
              <a:rPr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10799150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7" orient="horz" pos="2523" userDrawn="1">
          <p15:clr>
            <a:srgbClr val="FBAE40"/>
          </p15:clr>
        </p15:guide>
        <p15:guide id="9" orient="horz" pos="282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77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77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49787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1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3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213592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879" userDrawn="1">
          <p15:clr>
            <a:srgbClr val="FBAE40"/>
          </p15:clr>
        </p15:guide>
        <p15:guide id="2" pos="5244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76240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08079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B50FE48-9B3E-41BC-9BCB-A7C0ADD4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0B50FE48-9B3E-41BC-9BCB-A7C0ADD46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F1B4517-D350-4C71-BE85-080BD7DA32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70" y="391996"/>
            <a:ext cx="2617241" cy="758412"/>
          </a:xfrm>
          <a:prstGeom prst="rect">
            <a:avLst/>
          </a:prstGeom>
        </p:spPr>
      </p:pic>
      <p:pic>
        <p:nvPicPr>
          <p:cNvPr id="7" name="Picture 6" descr="30_WM_Leaf_1_9x9_150ppi_RGB.jpg">
            <a:extLst>
              <a:ext uri="{FF2B5EF4-FFF2-40B4-BE49-F238E27FC236}">
                <a16:creationId xmlns:a16="http://schemas.microsoft.com/office/drawing/2014/main" xmlns="" id="{395EE753-6018-481E-AF79-026763FE6F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4801814" y="1020983"/>
            <a:ext cx="7390190" cy="5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8559" y="1892266"/>
            <a:ext cx="10369006" cy="36118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8560" y="2393271"/>
            <a:ext cx="6162681" cy="361189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8560" y="4426237"/>
            <a:ext cx="6162681" cy="263790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714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A748558F-AC45-4C88-ADAF-342B0C8237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51464" y="6475816"/>
            <a:ext cx="1815964" cy="15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32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3366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0BCECA9-E74F-48C2-8321-DD9296970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0BCECA9-E74F-48C2-8321-DD9296970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B2C27A6-89EC-4A30-8404-846271180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7003" y="-2667002"/>
            <a:ext cx="6858000" cy="12192004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60067" y="1047754"/>
            <a:ext cx="8287175" cy="83820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Click to add section title</a:t>
            </a:r>
          </a:p>
          <a:p>
            <a:pPr lvl="1"/>
            <a:r>
              <a:rPr lang="en-US"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60067" y="384180"/>
            <a:ext cx="8287175" cy="454025"/>
          </a:xfrm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5" kern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31609766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9049A33-4B8D-49E6-B19B-6209D2ED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9049A33-4B8D-49E6-B19B-6209D2ED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A83814-1EBC-40C1-8C9B-6BC73D4F4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7896" y="-3776753"/>
            <a:ext cx="2316208" cy="1219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0E5CE5D-B264-454B-970C-1ADEDE049FFE}"/>
              </a:ext>
            </a:extLst>
          </p:cNvPr>
          <p:cNvSpPr/>
          <p:nvPr userDrawn="1"/>
        </p:nvSpPr>
        <p:spPr>
          <a:xfrm rot="16200000">
            <a:off x="5047406" y="-3667248"/>
            <a:ext cx="2078763" cy="12210434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69" tIns="69669" rIns="69669" bIns="69669" rtlCol="0" anchor="ctr"/>
          <a:lstStyle/>
          <a:p>
            <a:pPr algn="ctr"/>
            <a:endParaRPr lang="en-US" sz="952" kern="0" dirty="0">
              <a:solidFill>
                <a:schemeClr val="tx1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2" y="5463008"/>
            <a:ext cx="11611429" cy="820866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="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="0">
                <a:solidFill>
                  <a:schemeClr val="tx2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1"/>
            <a:r>
              <a:rPr lang="en-US" dirty="0"/>
              <a:t>Click to add section title</a:t>
            </a:r>
          </a:p>
          <a:p>
            <a:pPr lvl="2"/>
            <a:r>
              <a:rPr lang="en-US"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3" y="4249017"/>
            <a:ext cx="3686168" cy="635173"/>
          </a:xfrm>
          <a:noFill/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48" b="0" kern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4884237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C9DA50B-9ACB-4A5B-AE9F-9458FF0D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BC9DA50B-9ACB-4A5B-AE9F-9458FF0D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E492DEA-D5D6-4DA1-925A-40C234638A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67662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58DC4C3-3F8C-4181-8F81-1E65B5957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58DC4C3-3F8C-4181-8F81-1E65B5957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6C414B0-EB49-4291-9FBD-062D58EBE3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33250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35ED5EA-5F5E-4AA4-84A4-7FEED305B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35ED5EA-5F5E-4AA4-84A4-7FEED305B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DEC010B-4D16-4A91-8320-D91D1E3506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42808156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E54EF77-16B4-4873-8633-8A80C0FB07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E54EF77-16B4-4873-8633-8A80C0FB07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BC7F520-B8C3-47DD-894C-CBA3FD04FE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4 pt</a:t>
            </a:r>
          </a:p>
          <a:p>
            <a:pPr lvl="1"/>
            <a:r>
              <a:rPr lang="en-US"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4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02721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9D4E0E3-0539-41F4-B573-D2212A0ED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9D4E0E3-0539-41F4-B573-D2212A0ED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D6458944-3BE8-455C-8158-88F940E8FE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4" y="1883664"/>
            <a:ext cx="11030857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4" y="400507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4" y="4489704"/>
            <a:ext cx="11030857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12456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  <p15:guide id="6" orient="horz" pos="2828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CF666B9-61CC-4C7D-BB21-7981EF555B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CF666B9-61CC-4C7D-BB21-7981EF55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BAB98CD4-5AE7-404C-86C9-A00BD30D84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4" y="1399032"/>
            <a:ext cx="5225143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7" y="1399032"/>
            <a:ext cx="5225143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63836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A6842D3C-3FBF-4528-AC3C-C1E2EA141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A6842D3C-3FBF-4528-AC3C-C1E2EA141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2437173-FEB3-4C7E-B619-127E821624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4" y="1883664"/>
            <a:ext cx="5225143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7" y="1883664"/>
            <a:ext cx="5225143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3281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28B276E-F4E6-4ACF-A151-FA4A19F5F6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28B276E-F4E6-4ACF-A151-FA4A19F5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95D68B2-4C17-4F08-B597-C01487D82E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309903400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63304068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1DDB7E5-1C38-476A-AC4D-037662AF05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31DDB7E5-1C38-476A-AC4D-037662AF0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E3763F8-8DD7-42B0-A982-A8C348D3D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4" y="139903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39903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4" y="400507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00507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695733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3" orient="horz" pos="2344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xmlns="" id="{447A5C83-9480-49CF-98B9-92DFCC4FE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xmlns="" id="{447A5C83-9480-49CF-98B9-92DFCC4FE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064BDCE6-4697-42CD-B66C-72B9B2AC78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4" y="188366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88366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4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4" y="448970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48970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730126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  <p15:guide id="8" orient="horz" pos="2828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E56F774B-EC7D-4CF3-8F1C-C3F325FC7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E56F774B-EC7D-4CF3-8F1C-C3F325FC7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4F84A16-ACEF-4AEF-964E-AE37EB243D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4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07526068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5" orient="horz" pos="2523" userDrawn="1">
          <p15:clr>
            <a:srgbClr val="FBAE40"/>
          </p15:clr>
        </p15:guide>
        <p15:guide id="7" orient="horz" pos="2828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BEC66E8-91C6-4515-B678-5B31024E35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BEC66E8-91C6-4515-B678-5B31024E3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C732B34-0D06-4C45-97BB-946CCD2EFA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913871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549A79F6-CBC9-41E0-A324-A8BC46BE9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549A79F6-CBC9-41E0-A324-A8BC46BE9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B2AC981-D7DC-41B2-8291-5E321DFBEC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36989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D56D263-F30E-4D0A-A951-00B63EE6EF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D56D263-F30E-4D0A-A951-00B63EE6EF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49E91C5-3FC6-4354-BEDF-C414B8556E3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84633515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3618959-8BB1-43C2-9FC7-80CCB8FDE9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3618959-8BB1-43C2-9FC7-80CCB8FDE9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738A23F-FA24-4944-AC3A-8B00D56697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073029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5" orient="horz" pos="2344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xmlns="" id="{EBB8E2FF-3A98-4763-9E44-DCD881C1D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xmlns="" id="{EBB8E2FF-3A98-4763-9E44-DCD881C1D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xmlns="" id="{662F2835-387F-4788-B5DB-04F72BDF16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121721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8" orient="horz" pos="2523" userDrawn="1">
          <p15:clr>
            <a:srgbClr val="FBAE40"/>
          </p15:clr>
        </p15:guide>
        <p15:guide id="10" orient="horz" pos="2828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8755BBF8-438E-4B59-AB19-092D8D42E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8755BBF8-438E-4B59-AB19-092D8D42E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EABDEBB-83F4-49B1-8EC7-7438D1F71A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31615445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  <p15:guide id="7" orient="horz" pos="2523" userDrawn="1">
          <p15:clr>
            <a:srgbClr val="FBAE40"/>
          </p15:clr>
        </p15:guide>
        <p15:guide id="9" orient="horz" pos="2828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9379193-B31E-4DC2-BD6D-37AF192F3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9379193-B31E-4DC2-BD6D-37AF192F3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7F5DA97E-38A3-474B-AE6B-A233CD438E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80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80" y="1883664"/>
            <a:ext cx="7164251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937787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1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3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54368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9CF7E82D-C26A-40F2-AA63-B0124E88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9CF7E82D-C26A-40F2-AA63-B0124E88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E2DB097B-4B7E-40AF-8371-D3DA9375AF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7164251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3" y="1883664"/>
            <a:ext cx="7164251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321060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879" userDrawn="1">
          <p15:clr>
            <a:srgbClr val="FBAE40"/>
          </p15:clr>
        </p15:guide>
        <p15:guide id="2" pos="5244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EF4B4DB-CB53-40A7-A400-B22C83A47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EF4B4DB-CB53-40A7-A400-B22C83A47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9720412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922653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30_WM_Leaf_1_9x9_150ppi_RGB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32304" y="1022350"/>
            <a:ext cx="7759700" cy="583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WM_logo_PPTLarge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" y="5843588"/>
            <a:ext cx="2950634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3" descr="WM_tagline_1c-green_rgb.gi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2168" y="2884488"/>
            <a:ext cx="2328334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46229"/>
            <a:ext cx="8161867" cy="7651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35" baseline="0"/>
            </a:lvl1pPr>
            <a:lvl2pPr marL="443763" indent="0">
              <a:buNone/>
              <a:defRPr sz="1747"/>
            </a:lvl2pPr>
            <a:lvl3pPr marL="887524" indent="0">
              <a:buNone/>
              <a:defRPr sz="1553"/>
            </a:lvl3pPr>
            <a:lvl4pPr marL="1331287" indent="0">
              <a:buNone/>
              <a:defRPr sz="1359"/>
            </a:lvl4pPr>
            <a:lvl5pPr marL="1775049" indent="0">
              <a:buNone/>
              <a:defRPr sz="1359"/>
            </a:lvl5pPr>
            <a:lvl6pPr marL="2218811" indent="0">
              <a:buNone/>
              <a:defRPr sz="1359"/>
            </a:lvl6pPr>
            <a:lvl7pPr marL="2662574" indent="0">
              <a:buNone/>
              <a:defRPr sz="1359"/>
            </a:lvl7pPr>
            <a:lvl8pPr marL="3106335" indent="0">
              <a:buNone/>
              <a:defRPr sz="1359"/>
            </a:lvl8pPr>
            <a:lvl9pPr marL="3550097" indent="0">
              <a:buNone/>
              <a:defRPr sz="135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9600" y="895351"/>
            <a:ext cx="10972800" cy="546100"/>
          </a:xfrm>
        </p:spPr>
        <p:txBody>
          <a:bodyPr/>
          <a:lstStyle>
            <a:lvl1pPr>
              <a:lnSpc>
                <a:spcPct val="90000"/>
              </a:lnSpc>
              <a:defRPr sz="2135">
                <a:solidFill>
                  <a:srgbClr val="7AB8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09600" y="2390781"/>
            <a:ext cx="5325534" cy="581025"/>
          </a:xfrm>
        </p:spPr>
        <p:txBody>
          <a:bodyPr/>
          <a:lstStyle>
            <a:lvl1pPr>
              <a:defRPr sz="135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4312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14_WM_CFL_bulb_cycle_9x9_150ppi_rgb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49239" y="1058865"/>
            <a:ext cx="7742767" cy="579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WM_logo_PPTLarge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" y="5843588"/>
            <a:ext cx="2950634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3" descr="WM_tagline_1c-green_rgb.gi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2168" y="2884488"/>
            <a:ext cx="2328334" cy="45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7826"/>
            <a:ext cx="10972800" cy="1057274"/>
          </a:xfrm>
        </p:spPr>
        <p:txBody>
          <a:bodyPr/>
          <a:lstStyle>
            <a:lvl1pPr algn="l">
              <a:defRPr sz="3494" b="0" i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46229"/>
            <a:ext cx="8161867" cy="7651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35" baseline="0"/>
            </a:lvl1pPr>
            <a:lvl2pPr marL="443763" indent="0">
              <a:buNone/>
              <a:defRPr sz="1747"/>
            </a:lvl2pPr>
            <a:lvl3pPr marL="887524" indent="0">
              <a:buNone/>
              <a:defRPr sz="1553"/>
            </a:lvl3pPr>
            <a:lvl4pPr marL="1331287" indent="0">
              <a:buNone/>
              <a:defRPr sz="1359"/>
            </a:lvl4pPr>
            <a:lvl5pPr marL="1775049" indent="0">
              <a:buNone/>
              <a:defRPr sz="1359"/>
            </a:lvl5pPr>
            <a:lvl6pPr marL="2218811" indent="0">
              <a:buNone/>
              <a:defRPr sz="1359"/>
            </a:lvl6pPr>
            <a:lvl7pPr marL="2662574" indent="0">
              <a:buNone/>
              <a:defRPr sz="1359"/>
            </a:lvl7pPr>
            <a:lvl8pPr marL="3106335" indent="0">
              <a:buNone/>
              <a:defRPr sz="1359"/>
            </a:lvl8pPr>
            <a:lvl9pPr marL="3550097" indent="0">
              <a:buNone/>
              <a:defRPr sz="135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9600" y="895351"/>
            <a:ext cx="10972800" cy="546100"/>
          </a:xfrm>
        </p:spPr>
        <p:txBody>
          <a:bodyPr/>
          <a:lstStyle>
            <a:lvl1pPr>
              <a:lnSpc>
                <a:spcPct val="90000"/>
              </a:lnSpc>
              <a:defRPr sz="2135">
                <a:solidFill>
                  <a:srgbClr val="7AB8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09600" y="2390781"/>
            <a:ext cx="5325534" cy="581025"/>
          </a:xfrm>
        </p:spPr>
        <p:txBody>
          <a:bodyPr/>
          <a:lstStyle>
            <a:lvl1pPr>
              <a:defRPr sz="135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95283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WM_logo_PPTLarge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" y="5843588"/>
            <a:ext cx="2950634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7826"/>
            <a:ext cx="10972800" cy="1057274"/>
          </a:xfrm>
        </p:spPr>
        <p:txBody>
          <a:bodyPr/>
          <a:lstStyle>
            <a:lvl1pPr algn="l">
              <a:defRPr sz="3494" b="0" i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46229"/>
            <a:ext cx="8161867" cy="7651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135" baseline="0"/>
            </a:lvl1pPr>
            <a:lvl2pPr marL="443763" indent="0">
              <a:buNone/>
              <a:defRPr sz="1747"/>
            </a:lvl2pPr>
            <a:lvl3pPr marL="887524" indent="0">
              <a:buNone/>
              <a:defRPr sz="1553"/>
            </a:lvl3pPr>
            <a:lvl4pPr marL="1331287" indent="0">
              <a:buNone/>
              <a:defRPr sz="1359"/>
            </a:lvl4pPr>
            <a:lvl5pPr marL="1775049" indent="0">
              <a:buNone/>
              <a:defRPr sz="1359"/>
            </a:lvl5pPr>
            <a:lvl6pPr marL="2218811" indent="0">
              <a:buNone/>
              <a:defRPr sz="1359"/>
            </a:lvl6pPr>
            <a:lvl7pPr marL="2662574" indent="0">
              <a:buNone/>
              <a:defRPr sz="1359"/>
            </a:lvl7pPr>
            <a:lvl8pPr marL="3106335" indent="0">
              <a:buNone/>
              <a:defRPr sz="1359"/>
            </a:lvl8pPr>
            <a:lvl9pPr marL="3550097" indent="0">
              <a:buNone/>
              <a:defRPr sz="135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9600" y="895351"/>
            <a:ext cx="10972800" cy="546100"/>
          </a:xfrm>
        </p:spPr>
        <p:txBody>
          <a:bodyPr/>
          <a:lstStyle>
            <a:lvl1pPr>
              <a:lnSpc>
                <a:spcPct val="90000"/>
              </a:lnSpc>
              <a:defRPr sz="2135">
                <a:solidFill>
                  <a:srgbClr val="7AB8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09600" y="2390781"/>
            <a:ext cx="5325534" cy="581025"/>
          </a:xfrm>
        </p:spPr>
        <p:txBody>
          <a:bodyPr/>
          <a:lstStyle>
            <a:lvl1pPr>
              <a:defRPr sz="135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09196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04819"/>
            <a:ext cx="10968566" cy="9413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546227"/>
            <a:ext cx="10972800" cy="4394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09600" y="863602"/>
            <a:ext cx="10972800" cy="482600"/>
          </a:xfrm>
        </p:spPr>
        <p:txBody>
          <a:bodyPr/>
          <a:lstStyle>
            <a:lvl1pPr>
              <a:spcAft>
                <a:spcPts val="0"/>
              </a:spcAft>
              <a:defRPr sz="2135">
                <a:solidFill>
                  <a:srgbClr val="7AB8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6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Date Placeholder 22"/>
          <p:cNvSpPr>
            <a:spLocks noGrp="1"/>
          </p:cNvSpPr>
          <p:nvPr>
            <p:ph type="dt" sz="half" idx="17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8997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609601" y="1533526"/>
            <a:ext cx="5317067" cy="4406900"/>
          </a:xfrm>
        </p:spPr>
        <p:txBody>
          <a:bodyPr/>
          <a:lstStyle>
            <a:lvl1pPr>
              <a:defRPr sz="1941"/>
            </a:lvl1pPr>
            <a:lvl2pPr>
              <a:defRPr sz="1941"/>
            </a:lvl2pPr>
            <a:lvl3pPr>
              <a:defRPr sz="1553"/>
            </a:lvl3pPr>
            <a:lvl4pPr>
              <a:defRPr sz="1553"/>
            </a:lvl4pPr>
            <a:lvl5pPr>
              <a:defRPr sz="155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6248402" y="1533526"/>
            <a:ext cx="5334000" cy="4406900"/>
          </a:xfrm>
        </p:spPr>
        <p:txBody>
          <a:bodyPr/>
          <a:lstStyle>
            <a:lvl1pPr>
              <a:defRPr sz="1941"/>
            </a:lvl1pPr>
            <a:lvl2pPr>
              <a:defRPr sz="1941"/>
            </a:lvl2pPr>
            <a:lvl3pPr>
              <a:defRPr sz="1553"/>
            </a:lvl3pPr>
            <a:lvl4pPr>
              <a:defRPr sz="1553"/>
            </a:lvl4pPr>
            <a:lvl5pPr>
              <a:defRPr sz="155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 marL="0" indent="0">
              <a:spcAft>
                <a:spcPts val="0"/>
              </a:spcAft>
              <a:defRPr sz="2135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21"/>
          <p:cNvSpPr>
            <a:spLocks noGrp="1"/>
          </p:cNvSpPr>
          <p:nvPr>
            <p:ph type="ftr" sz="quarter" idx="17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Date Placeholder 22"/>
          <p:cNvSpPr>
            <a:spLocks noGrp="1"/>
          </p:cNvSpPr>
          <p:nvPr>
            <p:ph type="dt" sz="half" idx="18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7803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5810250"/>
            <a:ext cx="12192000" cy="1047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44375" bIns="0" anchor="ctr"/>
          <a:lstStyle/>
          <a:p>
            <a:pPr>
              <a:defRPr/>
            </a:pPr>
            <a:endParaRPr lang="en-US" sz="1947" dirty="0">
              <a:solidFill>
                <a:srgbClr val="57584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3494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>
              <a:defRPr>
                <a:solidFill>
                  <a:srgbClr val="7DBB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1533527"/>
            <a:ext cx="10972800" cy="701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5"/>
          </p:nvPr>
        </p:nvSpPr>
        <p:spPr>
          <a:xfrm>
            <a:off x="609600" y="2286004"/>
            <a:ext cx="10972800" cy="3654425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Footer Placeholder 21"/>
          <p:cNvSpPr>
            <a:spLocks noGrp="1"/>
          </p:cNvSpPr>
          <p:nvPr>
            <p:ph type="ftr" sz="quarter" idx="17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0" name="Date Placeholder 22"/>
          <p:cNvSpPr>
            <a:spLocks noGrp="1"/>
          </p:cNvSpPr>
          <p:nvPr>
            <p:ph type="dt" sz="half" idx="18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  <p:sp>
        <p:nvSpPr>
          <p:cNvPr id="12" name="Rectangle 6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1277602" y="6629406"/>
            <a:ext cx="757766" cy="1428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8117C8A-ED2D-446F-AF8C-752D3ED659D7}" type="slidenum">
              <a:rPr lang="en-US" sz="777" smtClean="0"/>
              <a:pPr>
                <a:defRPr/>
              </a:pPr>
              <a:t>‹#›</a:t>
            </a:fld>
            <a:endParaRPr lang="en-US" sz="777" dirty="0"/>
          </a:p>
        </p:txBody>
      </p:sp>
    </p:spTree>
    <p:extLst>
      <p:ext uri="{BB962C8B-B14F-4D97-AF65-F5344CB8AC3E}">
        <p14:creationId xmlns:p14="http://schemas.microsoft.com/office/powerpoint/2010/main" val="2042484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3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3" y="188366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3" y="400507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3" y="448970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30229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  <p15:guide id="6" orient="horz" pos="2828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>
              <a:defRPr sz="2135">
                <a:solidFill>
                  <a:srgbClr val="7AB8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1" y="1533526"/>
            <a:ext cx="5317067" cy="4406900"/>
          </a:xfrm>
        </p:spPr>
        <p:txBody>
          <a:bodyPr/>
          <a:lstStyle>
            <a:lvl1pPr>
              <a:defRPr sz="1941"/>
            </a:lvl1pPr>
            <a:lvl2pPr>
              <a:defRPr sz="1941"/>
            </a:lvl2pPr>
            <a:lvl3pPr>
              <a:defRPr sz="1553"/>
            </a:lvl3pPr>
            <a:lvl4pPr>
              <a:defRPr sz="1553"/>
            </a:lvl4pPr>
            <a:lvl5pPr>
              <a:defRPr sz="155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48402" y="1533525"/>
            <a:ext cx="5334000" cy="384048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248402" y="5549904"/>
            <a:ext cx="5334000" cy="454025"/>
          </a:xfrm>
        </p:spPr>
        <p:txBody>
          <a:bodyPr/>
          <a:lstStyle>
            <a:lvl1pPr>
              <a:spcAft>
                <a:spcPts val="0"/>
              </a:spcAft>
              <a:defRPr sz="135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21"/>
          <p:cNvSpPr>
            <a:spLocks noGrp="1"/>
          </p:cNvSpPr>
          <p:nvPr>
            <p:ph type="ftr" sz="quarter" idx="18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2" name="Date Placeholder 22"/>
          <p:cNvSpPr>
            <a:spLocks noGrp="1"/>
          </p:cNvSpPr>
          <p:nvPr>
            <p:ph type="dt" sz="half" idx="19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510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6"/>
            <a:ext cx="10972800" cy="499364"/>
          </a:xfrm>
        </p:spPr>
        <p:txBody>
          <a:bodyPr/>
          <a:lstStyle>
            <a:lvl1pPr>
              <a:defRPr sz="2135">
                <a:solidFill>
                  <a:srgbClr val="7AB8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1" y="1533527"/>
            <a:ext cx="5317067" cy="3838575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48402" y="1533527"/>
            <a:ext cx="5334000" cy="3838575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09601" y="5549904"/>
            <a:ext cx="5317067" cy="454025"/>
          </a:xfrm>
        </p:spPr>
        <p:txBody>
          <a:bodyPr/>
          <a:lstStyle>
            <a:lvl1pPr>
              <a:spcAft>
                <a:spcPts val="0"/>
              </a:spcAft>
              <a:defRPr sz="135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6248402" y="5549904"/>
            <a:ext cx="5334000" cy="454025"/>
          </a:xfrm>
        </p:spPr>
        <p:txBody>
          <a:bodyPr/>
          <a:lstStyle>
            <a:lvl1pPr>
              <a:spcAft>
                <a:spcPts val="0"/>
              </a:spcAft>
              <a:defRPr sz="135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21"/>
          <p:cNvSpPr>
            <a:spLocks noGrp="1"/>
          </p:cNvSpPr>
          <p:nvPr>
            <p:ph type="ftr" sz="quarter" idx="19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2" name="Date Placeholder 22"/>
          <p:cNvSpPr>
            <a:spLocks noGrp="1"/>
          </p:cNvSpPr>
          <p:nvPr>
            <p:ph type="dt" sz="half" idx="20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  <p:sp>
        <p:nvSpPr>
          <p:cNvPr id="14" name="Rectangle 6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1277602" y="6629406"/>
            <a:ext cx="757766" cy="1428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8117C8A-ED2D-446F-AF8C-752D3ED659D7}" type="slidenum">
              <a:rPr lang="en-US" sz="777" smtClean="0"/>
              <a:pPr>
                <a:defRPr/>
              </a:pPr>
              <a:t>‹#›</a:t>
            </a:fld>
            <a:endParaRPr lang="en-US" sz="777" dirty="0"/>
          </a:p>
        </p:txBody>
      </p:sp>
    </p:spTree>
    <p:extLst>
      <p:ext uri="{BB962C8B-B14F-4D97-AF65-F5344CB8AC3E}">
        <p14:creationId xmlns:p14="http://schemas.microsoft.com/office/powerpoint/2010/main" val="319739089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859537"/>
            <a:ext cx="10972800" cy="512064"/>
          </a:xfrm>
        </p:spPr>
        <p:txBody>
          <a:bodyPr/>
          <a:lstStyle>
            <a:lvl1pPr>
              <a:defRPr sz="2135">
                <a:solidFill>
                  <a:srgbClr val="7AB800"/>
                </a:solidFill>
              </a:defRPr>
            </a:lvl1pPr>
            <a:lvl2pPr>
              <a:defRPr sz="2135">
                <a:solidFill>
                  <a:srgbClr val="7AB800"/>
                </a:solidFill>
              </a:defRPr>
            </a:lvl2pPr>
            <a:lvl3pPr>
              <a:defRPr sz="2135">
                <a:solidFill>
                  <a:srgbClr val="7AB800"/>
                </a:solidFill>
              </a:defRPr>
            </a:lvl3pPr>
            <a:lvl4pPr>
              <a:defRPr sz="2135">
                <a:solidFill>
                  <a:srgbClr val="7AB800"/>
                </a:solidFill>
              </a:defRPr>
            </a:lvl4pPr>
            <a:lvl5pPr>
              <a:defRPr sz="2135">
                <a:solidFill>
                  <a:srgbClr val="7AB8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609601" y="1533525"/>
            <a:ext cx="3429001" cy="208915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5"/>
          </p:nvPr>
        </p:nvSpPr>
        <p:spPr>
          <a:xfrm>
            <a:off x="4343400" y="1533525"/>
            <a:ext cx="3488267" cy="208915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6"/>
          </p:nvPr>
        </p:nvSpPr>
        <p:spPr>
          <a:xfrm>
            <a:off x="8132238" y="1533525"/>
            <a:ext cx="3450166" cy="208915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7"/>
          </p:nvPr>
        </p:nvSpPr>
        <p:spPr>
          <a:xfrm>
            <a:off x="609601" y="3851277"/>
            <a:ext cx="3429001" cy="208915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8"/>
          </p:nvPr>
        </p:nvSpPr>
        <p:spPr>
          <a:xfrm>
            <a:off x="4343400" y="3851277"/>
            <a:ext cx="3488267" cy="208915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9"/>
          </p:nvPr>
        </p:nvSpPr>
        <p:spPr>
          <a:xfrm>
            <a:off x="8132238" y="3851277"/>
            <a:ext cx="3450166" cy="2089150"/>
          </a:xfrm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Footer Placeholder 21"/>
          <p:cNvSpPr>
            <a:spLocks noGrp="1"/>
          </p:cNvSpPr>
          <p:nvPr>
            <p:ph type="ftr" sz="quarter" idx="21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2" name="Date Placeholder 22"/>
          <p:cNvSpPr>
            <a:spLocks noGrp="1"/>
          </p:cNvSpPr>
          <p:nvPr>
            <p:ph type="dt" sz="half" idx="22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  <p:sp>
        <p:nvSpPr>
          <p:cNvPr id="13" name="Rectangle 6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1277602" y="6629406"/>
            <a:ext cx="757766" cy="1428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8117C8A-ED2D-446F-AF8C-752D3ED659D7}" type="slidenum">
              <a:rPr lang="en-US" sz="777" smtClean="0"/>
              <a:pPr>
                <a:defRPr/>
              </a:pPr>
              <a:t>‹#›</a:t>
            </a:fld>
            <a:endParaRPr lang="en-US" sz="777" dirty="0"/>
          </a:p>
        </p:txBody>
      </p:sp>
    </p:spTree>
    <p:extLst>
      <p:ext uri="{BB962C8B-B14F-4D97-AF65-F5344CB8AC3E}">
        <p14:creationId xmlns:p14="http://schemas.microsoft.com/office/powerpoint/2010/main" val="14985159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04819"/>
            <a:ext cx="10968566" cy="3481387"/>
          </a:xfrm>
        </p:spPr>
        <p:txBody>
          <a:bodyPr/>
          <a:lstStyle>
            <a:lvl1pPr>
              <a:defRPr sz="4659">
                <a:solidFill>
                  <a:srgbClr val="7AB8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1" y="4025903"/>
            <a:ext cx="5317067" cy="368300"/>
          </a:xfrm>
        </p:spPr>
        <p:txBody>
          <a:bodyPr/>
          <a:lstStyle>
            <a:lvl1pPr marL="110941" indent="-110941">
              <a:buFont typeface="Lucida Grande"/>
              <a:buChar char="‑"/>
              <a:defRPr sz="174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4916499" y="6411919"/>
            <a:ext cx="3041651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Date Placeholder 22"/>
          <p:cNvSpPr>
            <a:spLocks noGrp="1"/>
          </p:cNvSpPr>
          <p:nvPr>
            <p:ph type="dt" sz="half" idx="16"/>
          </p:nvPr>
        </p:nvSpPr>
        <p:spPr>
          <a:xfrm>
            <a:off x="3536432" y="6411919"/>
            <a:ext cx="1221317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82A5AE-9649-4A60-BEA8-A86CDB77A277}" type="datetimeFigureOut">
              <a:rPr lang="en-US" smtClean="0"/>
              <a:t>5/14/2023</a:t>
            </a:fld>
            <a:endParaRPr lang="en-US" dirty="0"/>
          </a:p>
        </p:txBody>
      </p:sp>
      <p:sp>
        <p:nvSpPr>
          <p:cNvPr id="8" name="Rectangle 6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11277602" y="6629406"/>
            <a:ext cx="757766" cy="1428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8117C8A-ED2D-446F-AF8C-752D3ED659D7}" type="slidenum">
              <a:rPr lang="en-US" sz="777" smtClean="0"/>
              <a:pPr>
                <a:defRPr/>
              </a:pPr>
              <a:t>‹#›</a:t>
            </a:fld>
            <a:endParaRPr lang="en-US" sz="777" dirty="0"/>
          </a:p>
        </p:txBody>
      </p:sp>
    </p:spTree>
    <p:extLst>
      <p:ext uri="{BB962C8B-B14F-4D97-AF65-F5344CB8AC3E}">
        <p14:creationId xmlns:p14="http://schemas.microsoft.com/office/powerpoint/2010/main" val="17947019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0B50FE48-9B3E-41BC-9BCB-A7C0ADD46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0B50FE48-9B3E-41BC-9BCB-A7C0ADD46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F1B4517-D350-4C71-BE85-080BD7DA32C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70" y="391996"/>
            <a:ext cx="2617241" cy="758412"/>
          </a:xfrm>
          <a:prstGeom prst="rect">
            <a:avLst/>
          </a:prstGeom>
        </p:spPr>
      </p:pic>
      <p:pic>
        <p:nvPicPr>
          <p:cNvPr id="7" name="Picture 6" descr="30_WM_Leaf_1_9x9_150ppi_RGB.jpg">
            <a:extLst>
              <a:ext uri="{FF2B5EF4-FFF2-40B4-BE49-F238E27FC236}">
                <a16:creationId xmlns:a16="http://schemas.microsoft.com/office/drawing/2014/main" xmlns="" id="{395EE753-6018-481E-AF79-026763FE6F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4801814" y="1020983"/>
            <a:ext cx="7390190" cy="5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8559" y="1892266"/>
            <a:ext cx="10369006" cy="361189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8560" y="2393271"/>
            <a:ext cx="6162681" cy="361189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aseline="0">
                <a:solidFill>
                  <a:schemeClr val="tx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8560" y="4426237"/>
            <a:ext cx="6162681" cy="263790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714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714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A748558F-AC45-4C88-ADAF-342B0C8237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51464" y="6475816"/>
            <a:ext cx="1815964" cy="156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4159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80BCECA9-E74F-48C2-8321-DD9296970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80BCECA9-E74F-48C2-8321-DD9296970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B2C27A6-89EC-4A30-8404-846271180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7003" y="-2667002"/>
            <a:ext cx="6858000" cy="12192004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60067" y="1047754"/>
            <a:ext cx="8287175" cy="838201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Click to add section title</a:t>
            </a:r>
          </a:p>
          <a:p>
            <a:pPr lvl="1"/>
            <a:r>
              <a:rPr lang="en-US"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60067" y="384180"/>
            <a:ext cx="8287175" cy="454025"/>
          </a:xfrm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5" kern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182374370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9049A33-4B8D-49E6-B19B-6209D2ED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9049A33-4B8D-49E6-B19B-6209D2ED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1A83814-1EBC-40C1-8C9B-6BC73D4F43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7896" y="-3776753"/>
            <a:ext cx="2316208" cy="12192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0E5CE5D-B264-454B-970C-1ADEDE049FFE}"/>
              </a:ext>
            </a:extLst>
          </p:cNvPr>
          <p:cNvSpPr/>
          <p:nvPr userDrawn="1"/>
        </p:nvSpPr>
        <p:spPr>
          <a:xfrm rot="16200000">
            <a:off x="5047406" y="-3667248"/>
            <a:ext cx="2078763" cy="12210434"/>
          </a:xfrm>
          <a:prstGeom prst="rect">
            <a:avLst/>
          </a:prstGeom>
          <a:solidFill>
            <a:schemeClr val="accent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669" tIns="69669" rIns="69669" bIns="69669" rtlCol="0" anchor="ctr"/>
          <a:lstStyle/>
          <a:p>
            <a:pPr algn="ctr"/>
            <a:endParaRPr lang="en-US" sz="952" kern="0" dirty="0">
              <a:solidFill>
                <a:schemeClr val="tx1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2" y="5463008"/>
            <a:ext cx="11611429" cy="820866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="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 b="0">
                <a:solidFill>
                  <a:schemeClr val="tx2"/>
                </a:solidFill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667">
                <a:latin typeface="+mj-lt"/>
                <a:ea typeface="+mj-ea"/>
              </a:defRPr>
            </a:lvl9pPr>
          </a:lstStyle>
          <a:p>
            <a:pPr lvl="1"/>
            <a:r>
              <a:rPr lang="en-US" dirty="0"/>
              <a:t>Click to add section title</a:t>
            </a:r>
          </a:p>
          <a:p>
            <a:pPr lvl="2"/>
            <a:r>
              <a:rPr lang="en-US" noProof="0" dirty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3" y="4249017"/>
            <a:ext cx="3686168" cy="635173"/>
          </a:xfrm>
          <a:noFill/>
        </p:spPr>
        <p:txBody>
          <a:bodyPr lIns="0" tIns="0" rIns="0" bIns="0" anchor="ctr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048" b="0" kern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905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Section #</a:t>
            </a:r>
          </a:p>
        </p:txBody>
      </p:sp>
    </p:spTree>
    <p:extLst>
      <p:ext uri="{BB962C8B-B14F-4D97-AF65-F5344CB8AC3E}">
        <p14:creationId xmlns:p14="http://schemas.microsoft.com/office/powerpoint/2010/main" val="28247074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C9DA50B-9ACB-4A5B-AE9F-9458FF0D59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BC9DA50B-9ACB-4A5B-AE9F-9458FF0D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E492DEA-D5D6-4DA1-925A-40C234638A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2744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58DC4C3-3F8C-4181-8F81-1E65B5957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58DC4C3-3F8C-4181-8F81-1E65B5957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6C414B0-EB49-4291-9FBD-062D58EBE3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080941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35ED5EA-5F5E-4AA4-84A4-7FEED305B3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35ED5EA-5F5E-4AA4-84A4-7FEED305B3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DEC010B-4D16-4A91-8320-D91D1E3506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6036641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1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7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380990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E54EF77-16B4-4873-8633-8A80C0FB07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E54EF77-16B4-4873-8633-8A80C0FB07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BC7F520-B8C3-47DD-894C-CBA3FD04FE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33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4 pt</a:t>
            </a:r>
          </a:p>
          <a:p>
            <a:pPr lvl="1"/>
            <a:r>
              <a:rPr lang="en-US"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4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896177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59D4E0E3-0539-41F4-B573-D2212A0ED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59D4E0E3-0539-41F4-B573-D2212A0ED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D6458944-3BE8-455C-8158-88F940E8FE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4" y="1883664"/>
            <a:ext cx="11030857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4" y="400507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4" y="4489704"/>
            <a:ext cx="11030857" cy="183794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800240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1187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  <p15:guide id="6" orient="horz" pos="2828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BCF666B9-61CC-4C7D-BB21-7981EF555B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BCF666B9-61CC-4C7D-BB21-7981EF555B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BAB98CD4-5AE7-404C-86C9-A00BD30D84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4" y="1399032"/>
            <a:ext cx="5225143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7" y="1399032"/>
            <a:ext cx="5225143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6045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A6842D3C-3FBF-4528-AC3C-C1E2EA141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A6842D3C-3FBF-4528-AC3C-C1E2EA141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62437173-FEB3-4C7E-B619-127E821624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4" y="1883664"/>
            <a:ext cx="5225143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7" y="1883664"/>
            <a:ext cx="5225143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477860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28B276E-F4E6-4ACF-A151-FA4A19F5F6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28B276E-F4E6-4ACF-A151-FA4A19F5F6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95D68B2-4C17-4F08-B597-C01487D82E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7" y="1399032"/>
            <a:ext cx="5225143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415626780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1DDB7E5-1C38-476A-AC4D-037662AF05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31DDB7E5-1C38-476A-AC4D-037662AF0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0E3763F8-8DD7-42B0-A982-A8C348D3D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4" y="139903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39903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4" y="400507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005072"/>
            <a:ext cx="5225143" cy="2322576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80786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3" orient="horz" pos="2344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xmlns="" id="{447A5C83-9480-49CF-98B9-92DFCC4FE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xmlns="" id="{447A5C83-9480-49CF-98B9-92DFCC4FE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064BDCE6-4697-42CD-B66C-72B9B2AC78F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4" y="188366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7" y="188366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4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4" y="448970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7" y="4489704"/>
            <a:ext cx="5225143" cy="1837944"/>
          </a:xfrm>
        </p:spPr>
        <p:txBody>
          <a:bodyPr>
            <a:noAutofit/>
          </a:bodyPr>
          <a:lstStyle>
            <a:lvl1pPr marL="102855" indent="-102855">
              <a:spcBef>
                <a:spcPts val="571"/>
              </a:spcBef>
              <a:defRPr sz="952" dirty="0" smtClean="0"/>
            </a:lvl1pPr>
            <a:lvl2pPr marL="205712" indent="-102855">
              <a:spcBef>
                <a:spcPts val="190"/>
              </a:spcBef>
              <a:defRPr sz="952" dirty="0" smtClean="0"/>
            </a:lvl2pPr>
            <a:lvl3pPr marL="308568" indent="-102855">
              <a:spcBef>
                <a:spcPts val="190"/>
              </a:spcBef>
              <a:defRPr sz="952" dirty="0" smtClean="0"/>
            </a:lvl3pPr>
            <a:lvl4pPr marL="411424" indent="-102855">
              <a:spcBef>
                <a:spcPts val="190"/>
              </a:spcBef>
              <a:defRPr sz="952" dirty="0" smtClean="0"/>
            </a:lvl4pPr>
            <a:lvl5pPr marL="514279" indent="-102855">
              <a:spcBef>
                <a:spcPts val="190"/>
              </a:spcBef>
              <a:defRPr sz="952" dirty="0" smtClean="0"/>
            </a:lvl5pPr>
            <a:lvl6pPr marL="617135" indent="-102855">
              <a:spcBef>
                <a:spcPts val="190"/>
              </a:spcBef>
              <a:defRPr sz="952" dirty="0" smtClean="0"/>
            </a:lvl6pPr>
            <a:lvl7pPr marL="719991" indent="-102855">
              <a:spcBef>
                <a:spcPts val="190"/>
              </a:spcBef>
              <a:defRPr sz="952" dirty="0" smtClean="0"/>
            </a:lvl7pPr>
            <a:lvl8pPr marL="822847" indent="-102855">
              <a:spcBef>
                <a:spcPts val="190"/>
              </a:spcBef>
              <a:defRPr sz="952" dirty="0" smtClean="0"/>
            </a:lvl8pPr>
            <a:lvl9pPr marL="925703" indent="-102855">
              <a:spcBef>
                <a:spcPts val="190"/>
              </a:spcBef>
              <a:defRPr sz="952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978060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6" orient="horz" pos="2523" userDrawn="1">
          <p15:clr>
            <a:srgbClr val="FBAE40"/>
          </p15:clr>
        </p15:guide>
        <p15:guide id="8" orient="horz" pos="2828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E56F774B-EC7D-4CF3-8F1C-C3F325FC7E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E56F774B-EC7D-4CF3-8F1C-C3F325FC7E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4F84A16-ACEF-4AEF-964E-AE37EB243D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4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7" y="139903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4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7" y="4005072"/>
            <a:ext cx="5225143" cy="301752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52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0 pt</a:t>
            </a:r>
          </a:p>
          <a:p>
            <a:pPr lvl="1"/>
            <a:r>
              <a:rPr lang="en-US" dirty="0"/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1146194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57" userDrawn="1">
          <p15:clr>
            <a:srgbClr val="FBAE40"/>
          </p15:clr>
        </p15:guide>
        <p15:guide id="2" pos="4023" userDrawn="1">
          <p15:clr>
            <a:srgbClr val="FBAE40"/>
          </p15:clr>
        </p15:guide>
        <p15:guide id="4" orient="horz" pos="1187" userDrawn="1">
          <p15:clr>
            <a:srgbClr val="FBAE40"/>
          </p15:clr>
        </p15:guide>
        <p15:guide id="5" orient="horz" pos="2523" userDrawn="1">
          <p15:clr>
            <a:srgbClr val="FBAE40"/>
          </p15:clr>
        </p15:guide>
        <p15:guide id="7" orient="horz" pos="2828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BEC66E8-91C6-4515-B678-5B31024E35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BEC66E8-91C6-4515-B678-5B31024E3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C732B34-0D06-4C45-97BB-946CCD2EFA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646609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549A79F6-CBC9-41E0-A324-A8BC46BE9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549A79F6-CBC9-41E0-A324-A8BC46BE9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B2AC981-D7DC-41B2-8291-5E321DFBECB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5" b="0" i="0" kern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43" baseline="0">
                <a:latin typeface="+mj-lt"/>
                <a:ea typeface="+mj-ea"/>
              </a:defRPr>
            </a:lvl9pPr>
          </a:lstStyle>
          <a:p>
            <a:pPr lvl="0"/>
            <a:r>
              <a:rPr lang="en-US" dirty="0"/>
              <a:t>Heading 12 pt</a:t>
            </a:r>
          </a:p>
          <a:p>
            <a:pPr lvl="1"/>
            <a:r>
              <a:rPr lang="en-US" dirty="0"/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143" dirty="0" smtClean="0"/>
            </a:lvl1pPr>
            <a:lvl2pPr>
              <a:defRPr sz="1143" dirty="0" smtClean="0"/>
            </a:lvl2pPr>
            <a:lvl3pPr>
              <a:defRPr sz="1143" dirty="0" smtClean="0"/>
            </a:lvl3pPr>
            <a:lvl4pPr>
              <a:defRPr sz="1143" dirty="0" smtClean="0"/>
            </a:lvl4pPr>
            <a:lvl5pPr>
              <a:defRPr sz="1143" dirty="0" smtClean="0"/>
            </a:lvl5pPr>
            <a:lvl6pPr>
              <a:defRPr sz="1143" dirty="0" smtClean="0"/>
            </a:lvl6pPr>
            <a:lvl7pPr>
              <a:defRPr sz="1143" dirty="0" smtClean="0"/>
            </a:lvl7pPr>
            <a:lvl8pPr>
              <a:defRPr sz="1143" dirty="0" smtClean="0"/>
            </a:lvl8pPr>
            <a:lvl9pPr>
              <a:defRPr sz="1143" dirty="0" smtClean="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427235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36" userDrawn="1">
          <p15:clr>
            <a:srgbClr val="FBAE40"/>
          </p15:clr>
        </p15:guide>
        <p15:guide id="2" pos="2805" userDrawn="1">
          <p15:clr>
            <a:srgbClr val="FBAE40"/>
          </p15:clr>
        </p15:guide>
        <p15:guide id="3" pos="4875" userDrawn="1">
          <p15:clr>
            <a:srgbClr val="FBAE40"/>
          </p15:clr>
        </p15:guide>
        <p15:guide id="4" pos="5244" userDrawn="1">
          <p15:clr>
            <a:srgbClr val="FBAE40"/>
          </p15:clr>
        </p15:guide>
        <p15:guide id="6" orient="horz" pos="118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oleObject" Target="../embeddings/oleObject5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7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tags" Target="../tags/tag13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tags" Target="../tags/tag12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image" Target="../media/image7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vmlDrawing" Target="../drawings/vmlDrawing9.vml"/><Relationship Id="rId40" Type="http://schemas.openxmlformats.org/officeDocument/2006/relationships/oleObject" Target="../embeddings/oleObject9.bin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vmlDrawing" Target="../drawings/vmlDrawing33.v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oleObject" Target="../embeddings/oleObject33.bin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tags" Target="../tags/tag61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tags" Target="../tags/tag60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vmlDrawing" Target="../drawings/vmlDrawing57.v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oleObject" Target="../embeddings/oleObject57.bin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tags" Target="../tags/tag105.xml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tags" Target="../tags/tag104.x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vmlDrawing" Target="../drawings/vmlDrawing61.v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oleObject" Target="../embeddings/oleObject61.bin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tags" Target="../tags/tag110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tags" Target="../tags/tag109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B5F7943-C150-4920-B3E8-4721AA14F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6089092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B46930C4-3EC4-4E71-BADB-05FECE64424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kern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3" y="384048"/>
            <a:ext cx="11030857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80573" y="1399032"/>
            <a:ext cx="11030857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14/05/2023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453219" y="6547104"/>
            <a:ext cx="16030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1000" smtClean="0">
                <a:solidFill>
                  <a:schemeClr val="accent3"/>
                </a:solidFill>
              </a:rPr>
              <a:pPr marL="0" marR="0" indent="0" algn="r" defTabSz="914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10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657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6" r:id="rId3"/>
    <p:sldLayoutId id="2147483654" r:id="rId4"/>
    <p:sldLayoutId id="2147483650" r:id="rId5"/>
    <p:sldLayoutId id="2147483657" r:id="rId6"/>
    <p:sldLayoutId id="2147483659" r:id="rId7"/>
    <p:sldLayoutId id="2147483658" r:id="rId8"/>
    <p:sldLayoutId id="2147483652" r:id="rId9"/>
    <p:sldLayoutId id="2147483653" r:id="rId10"/>
    <p:sldLayoutId id="2147483660" r:id="rId11"/>
    <p:sldLayoutId id="2147483663" r:id="rId12"/>
    <p:sldLayoutId id="2147483661" r:id="rId13"/>
    <p:sldLayoutId id="2147483662" r:id="rId14"/>
    <p:sldLayoutId id="2147483665" r:id="rId15"/>
    <p:sldLayoutId id="2147483664" r:id="rId16"/>
    <p:sldLayoutId id="2147483666" r:id="rId17"/>
    <p:sldLayoutId id="2147483669" r:id="rId18"/>
    <p:sldLayoutId id="2147483672" r:id="rId19"/>
    <p:sldLayoutId id="2147483673" r:id="rId20"/>
    <p:sldLayoutId id="2147483667" r:id="rId21"/>
    <p:sldLayoutId id="2147483668" r:id="rId22"/>
    <p:sldLayoutId id="2147483670" r:id="rId23"/>
    <p:sldLayoutId id="2147483655" r:id="rId24"/>
  </p:sldLayoutIdLst>
  <p:txStyles>
    <p:titleStyle>
      <a:lvl1pPr algn="l" defTabSz="914370" rtl="0" eaLnBrk="1" latinLnBrk="0" hangingPunct="1">
        <a:lnSpc>
          <a:spcPct val="88000"/>
        </a:lnSpc>
        <a:spcBef>
          <a:spcPct val="0"/>
        </a:spcBef>
        <a:buNone/>
        <a:defRPr sz="20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4" indent="-179994" algn="l" defTabSz="91437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59988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39982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1997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899971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66" userDrawn="1">
          <p15:clr>
            <a:srgbClr val="F26B43"/>
          </p15:clr>
        </p15:guide>
        <p15:guide id="2" pos="7314" userDrawn="1">
          <p15:clr>
            <a:srgbClr val="F26B43"/>
          </p15:clr>
        </p15:guide>
        <p15:guide id="3" orient="horz" pos="242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398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B5F7943-C150-4920-B3E8-4721AA14F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B5F7943-C150-4920-B3E8-4721AA14F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B46930C4-3EC4-4E71-BADB-05FECE64424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kern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3" y="384048"/>
            <a:ext cx="11030857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80573" y="1399032"/>
            <a:ext cx="11030857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14/05/2023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453219" y="6547104"/>
            <a:ext cx="16030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1000" smtClean="0">
                <a:solidFill>
                  <a:schemeClr val="accent3"/>
                </a:solidFill>
              </a:rPr>
              <a:pPr marL="0" marR="0" indent="0" algn="r" defTabSz="914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10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380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</p:sldLayoutIdLst>
  <p:txStyles>
    <p:titleStyle>
      <a:lvl1pPr algn="l" defTabSz="914370" rtl="0" eaLnBrk="1" latinLnBrk="0" hangingPunct="1">
        <a:lnSpc>
          <a:spcPct val="88000"/>
        </a:lnSpc>
        <a:spcBef>
          <a:spcPct val="0"/>
        </a:spcBef>
        <a:buNone/>
        <a:defRPr sz="20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4" indent="-179994" algn="l" defTabSz="91437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59988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39982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1997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899971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66" userDrawn="1">
          <p15:clr>
            <a:srgbClr val="F26B43"/>
          </p15:clr>
        </p15:guide>
        <p15:guide id="2" pos="7314" userDrawn="1">
          <p15:clr>
            <a:srgbClr val="F26B43"/>
          </p15:clr>
        </p15:guide>
        <p15:guide id="3" orient="horz" pos="242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398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019976721"/>
              </p:ext>
            </p:extLst>
          </p:nvPr>
        </p:nvGraphicFramePr>
        <p:xfrm>
          <a:off x="2118" y="1594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0" imgW="216" imgH="216" progId="TCLayout.ActiveDocument.1">
                  <p:embed/>
                </p:oleObj>
              </mc:Choice>
              <mc:Fallback>
                <p:oleObj name="think-cell Slide" r:id="rId40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94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140A6542-6766-4179-9241-60CA93688AF1}"/>
              </a:ext>
            </a:extLst>
          </p:cNvPr>
          <p:cNvSpPr/>
          <p:nvPr userDrawn="1">
            <p:custDataLst>
              <p:tags r:id="rId39"/>
            </p:custDataLst>
          </p:nvPr>
        </p:nvSpPr>
        <p:spPr bwMode="auto">
          <a:xfrm>
            <a:off x="0" y="1"/>
            <a:ext cx="211667" cy="15875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8752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rebuchet MS" charset="0"/>
              <a:buNone/>
              <a:tabLst/>
            </a:pPr>
            <a:endParaRPr kumimoji="0" lang="en-US" sz="291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anose="020B0603020202020204" pitchFamily="34" charset="0"/>
              <a:ea typeface="ＭＳ Ｐゴシック" panose="020B0600070205080204" pitchFamily="34" charset="-128"/>
              <a:sym typeface="Trebuchet MS" panose="020B0603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1" y="404819"/>
            <a:ext cx="10968566" cy="96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546227"/>
            <a:ext cx="10972800" cy="439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2053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+mj-lt"/>
          <a:ea typeface="ＭＳ Ｐゴシック" charset="-128"/>
          <a:cs typeface="ＭＳ Ｐゴシック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  <a:ea typeface="ＭＳ Ｐゴシック" charset="-128"/>
          <a:cs typeface="ＭＳ Ｐゴシック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  <a:ea typeface="ＭＳ Ｐゴシック" charset="-128"/>
          <a:cs typeface="ＭＳ Ｐゴシック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  <a:ea typeface="ＭＳ Ｐゴシック" charset="-128"/>
          <a:cs typeface="ＭＳ Ｐゴシック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  <a:ea typeface="ＭＳ Ｐゴシック" charset="-128"/>
          <a:cs typeface="ＭＳ Ｐゴシック"/>
        </a:defRPr>
      </a:lvl5pPr>
      <a:lvl6pPr marL="443763" algn="l" rtl="0" eaLnBrk="1" fontAlgn="base" hangingPunct="1"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</a:defRPr>
      </a:lvl6pPr>
      <a:lvl7pPr marL="887524" algn="l" rtl="0" eaLnBrk="1" fontAlgn="base" hangingPunct="1"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</a:defRPr>
      </a:lvl7pPr>
      <a:lvl8pPr marL="1331287" algn="l" rtl="0" eaLnBrk="1" fontAlgn="base" hangingPunct="1"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</a:defRPr>
      </a:lvl8pPr>
      <a:lvl9pPr marL="1775049" algn="l" rtl="0" eaLnBrk="1" fontAlgn="base" hangingPunct="1">
        <a:spcBef>
          <a:spcPct val="0"/>
        </a:spcBef>
        <a:spcAft>
          <a:spcPct val="0"/>
        </a:spcAft>
        <a:defRPr sz="2912">
          <a:solidFill>
            <a:schemeClr val="tx2"/>
          </a:solidFill>
          <a:latin typeface="Trebuchet MS" charset="0"/>
        </a:defRPr>
      </a:lvl9pPr>
    </p:titleStyle>
    <p:bodyStyle>
      <a:lvl1pPr marL="332821" indent="-332821" algn="l" rtl="0" eaLnBrk="1" fontAlgn="base" hangingPunct="1">
        <a:spcBef>
          <a:spcPct val="0"/>
        </a:spcBef>
        <a:spcAft>
          <a:spcPts val="582"/>
        </a:spcAft>
        <a:buFont typeface="Trebuchet MS" pitchFamily="34" charset="0"/>
        <a:defRPr sz="2135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1pPr>
      <a:lvl2pPr marL="221880" indent="-221880" algn="l" rtl="0" eaLnBrk="1" fontAlgn="base" hangingPunct="1">
        <a:spcBef>
          <a:spcPct val="0"/>
        </a:spcBef>
        <a:spcAft>
          <a:spcPts val="582"/>
        </a:spcAft>
        <a:buFont typeface="Trebuchet MS" pitchFamily="34" charset="0"/>
        <a:buChar char="•"/>
        <a:defRPr sz="2135">
          <a:solidFill>
            <a:schemeClr val="tx1"/>
          </a:solidFill>
          <a:latin typeface="+mn-lt"/>
          <a:ea typeface="ＭＳ Ｐゴシック" charset="-128"/>
          <a:cs typeface="ＭＳ Ｐゴシック"/>
        </a:defRPr>
      </a:lvl2pPr>
      <a:lvl3pPr marL="394455" indent="-160248" algn="l" rtl="0" eaLnBrk="1" fontAlgn="base" hangingPunct="1">
        <a:spcBef>
          <a:spcPct val="0"/>
        </a:spcBef>
        <a:spcAft>
          <a:spcPts val="582"/>
        </a:spcAft>
        <a:buFont typeface="Trebuchet MS" pitchFamily="34" charset="0"/>
        <a:buChar char="–"/>
        <a:defRPr>
          <a:solidFill>
            <a:schemeClr val="tx1"/>
          </a:solidFill>
          <a:latin typeface="+mn-lt"/>
          <a:ea typeface="ＭＳ Ｐゴシック" charset="-128"/>
          <a:cs typeface="ＭＳ Ｐゴシック"/>
        </a:defRPr>
      </a:lvl3pPr>
      <a:lvl4pPr marL="554703" indent="-160248" algn="l" rtl="0" eaLnBrk="1" fontAlgn="base" hangingPunct="1">
        <a:spcBef>
          <a:spcPct val="0"/>
        </a:spcBef>
        <a:spcAft>
          <a:spcPts val="582"/>
        </a:spcAft>
        <a:buFont typeface="Trebuchet MS" pitchFamily="34" charset="0"/>
        <a:buChar char="•"/>
        <a:defRPr>
          <a:solidFill>
            <a:schemeClr val="tx1"/>
          </a:solidFill>
          <a:latin typeface="+mn-lt"/>
          <a:ea typeface="ＭＳ Ｐゴシック" charset="-128"/>
          <a:cs typeface="ＭＳ Ｐゴシック"/>
        </a:defRPr>
      </a:lvl4pPr>
      <a:lvl5pPr marL="727278" indent="-160248" algn="l" rtl="0" eaLnBrk="1" fontAlgn="base" hangingPunct="1">
        <a:spcBef>
          <a:spcPct val="0"/>
        </a:spcBef>
        <a:spcAft>
          <a:spcPts val="582"/>
        </a:spcAft>
        <a:buFont typeface="Trebuchet MS" pitchFamily="34" charset="0"/>
        <a:buChar char="–"/>
        <a:defRPr>
          <a:solidFill>
            <a:schemeClr val="tx1"/>
          </a:solidFill>
          <a:latin typeface="+mn-lt"/>
          <a:ea typeface="ＭＳ Ｐゴシック" charset="-128"/>
          <a:cs typeface="ＭＳ Ｐゴシック"/>
        </a:defRPr>
      </a:lvl5pPr>
      <a:lvl6pPr marL="2218811" indent="-22188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6pPr>
      <a:lvl7pPr marL="2662574" indent="-22188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7pPr>
      <a:lvl8pPr marL="3106335" indent="-22188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8pPr>
      <a:lvl9pPr marL="3550097" indent="-22188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Trebuchet MS" charset="0"/>
        <a:buChar char="–"/>
        <a:defRPr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1pPr>
      <a:lvl2pPr marL="443763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2pPr>
      <a:lvl3pPr marL="887524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3pPr>
      <a:lvl4pPr marL="1331287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4pPr>
      <a:lvl5pPr marL="1775049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5pPr>
      <a:lvl6pPr marL="2218811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6pPr>
      <a:lvl7pPr marL="2662574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7pPr>
      <a:lvl8pPr marL="3106335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8pPr>
      <a:lvl9pPr marL="3550097" algn="l" defTabSz="443763" rtl="0" eaLnBrk="1" latinLnBrk="0" hangingPunct="1">
        <a:defRPr sz="17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B5F7943-C150-4920-B3E8-4721AA14F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61886955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B5F7943-C150-4920-B3E8-4721AA14F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B46930C4-3EC4-4E71-BADB-05FECE64424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1905" b="0" i="0" kern="0" baseline="0" dirty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4" y="384048"/>
            <a:ext cx="11030857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80574" y="1399032"/>
            <a:ext cx="11030857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5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86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5/14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286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9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86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459631" y="6550795"/>
            <a:ext cx="153888" cy="1465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8708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US" sz="952" smtClean="0">
                <a:solidFill>
                  <a:schemeClr val="accent3"/>
                </a:solidFill>
              </a:rPr>
              <a:pPr marL="0" marR="0" indent="0" algn="r" defTabSz="8708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52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401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</p:sldLayoutIdLst>
  <p:txStyles>
    <p:titleStyle>
      <a:lvl1pPr algn="l" defTabSz="870847" rtl="0" eaLnBrk="1" latinLnBrk="0" hangingPunct="1">
        <a:lnSpc>
          <a:spcPct val="88000"/>
        </a:lnSpc>
        <a:spcBef>
          <a:spcPct val="0"/>
        </a:spcBef>
        <a:buNone/>
        <a:defRPr sz="1905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26" indent="-171426" algn="l" defTabSz="870847" rtl="0" eaLnBrk="1" latinLnBrk="0" hangingPunct="1">
        <a:spcBef>
          <a:spcPts val="667"/>
        </a:spcBef>
        <a:buFont typeface="Arial" panose="020B0604020202020204" pitchFamily="34" charset="0"/>
        <a:buChar char="•"/>
        <a:defRPr sz="1333" kern="0">
          <a:solidFill>
            <a:schemeClr val="tx1"/>
          </a:solidFill>
          <a:latin typeface="+mn-lt"/>
          <a:ea typeface="+mn-ea"/>
          <a:cs typeface="+mn-cs"/>
        </a:defRPr>
      </a:lvl1pPr>
      <a:lvl2pPr marL="342853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–"/>
        <a:defRPr sz="1333" kern="0">
          <a:solidFill>
            <a:schemeClr val="tx1"/>
          </a:solidFill>
          <a:latin typeface="+mn-lt"/>
          <a:ea typeface="+mn-ea"/>
          <a:cs typeface="+mn-cs"/>
        </a:defRPr>
      </a:lvl2pPr>
      <a:lvl3pPr marL="514279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•"/>
        <a:defRPr sz="1333" kern="0">
          <a:solidFill>
            <a:schemeClr val="tx1"/>
          </a:solidFill>
          <a:latin typeface="+mn-lt"/>
          <a:ea typeface="+mn-ea"/>
          <a:cs typeface="+mn-cs"/>
        </a:defRPr>
      </a:lvl3pPr>
      <a:lvl4pPr marL="685705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4pPr>
      <a:lvl5pPr marL="857132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5pPr>
      <a:lvl6pPr marL="1028558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6pPr>
      <a:lvl7pPr marL="1199985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7pPr>
      <a:lvl8pPr marL="1371412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8pPr>
      <a:lvl9pPr marL="1542838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1pPr>
      <a:lvl2pPr marL="171426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2pPr>
      <a:lvl3pPr marL="342853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3pPr>
      <a:lvl4pPr marL="514279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4pPr>
      <a:lvl5pPr marL="685705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5pPr>
      <a:lvl6pPr marL="857132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6pPr>
      <a:lvl7pPr marL="1028558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7pPr>
      <a:lvl8pPr marL="1199985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8pPr>
      <a:lvl9pPr marL="1371412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66" userDrawn="1">
          <p15:clr>
            <a:srgbClr val="F26B43"/>
          </p15:clr>
        </p15:guide>
        <p15:guide id="2" pos="7314" userDrawn="1">
          <p15:clr>
            <a:srgbClr val="F26B43"/>
          </p15:clr>
        </p15:guide>
        <p15:guide id="3" orient="horz" pos="242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398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B5F7943-C150-4920-B3E8-4721AA14F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587392776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B5F7943-C150-4920-B3E8-4721AA14F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B46930C4-3EC4-4E71-BADB-05FECE64424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1905" b="0" i="0" kern="0" baseline="0" dirty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4" y="384048"/>
            <a:ext cx="11030857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80574" y="1399032"/>
            <a:ext cx="11030857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5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286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14/05/2023</a:t>
            </a:fld>
            <a:endParaRPr lang="en-GB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286">
                <a:solidFill>
                  <a:schemeClr val="accent4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9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86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459631" y="6550795"/>
            <a:ext cx="153888" cy="14651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8708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GB" sz="952" smtClean="0">
                <a:solidFill>
                  <a:schemeClr val="accent3"/>
                </a:solidFill>
              </a:rPr>
              <a:pPr marL="0" marR="0" indent="0" algn="r" defTabSz="8708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52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97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xStyles>
    <p:titleStyle>
      <a:lvl1pPr algn="l" defTabSz="870847" rtl="0" eaLnBrk="1" latinLnBrk="0" hangingPunct="1">
        <a:lnSpc>
          <a:spcPct val="88000"/>
        </a:lnSpc>
        <a:spcBef>
          <a:spcPct val="0"/>
        </a:spcBef>
        <a:buNone/>
        <a:defRPr sz="1905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26" indent="-171426" algn="l" defTabSz="870847" rtl="0" eaLnBrk="1" latinLnBrk="0" hangingPunct="1">
        <a:spcBef>
          <a:spcPts val="667"/>
        </a:spcBef>
        <a:buFont typeface="Arial" panose="020B0604020202020204" pitchFamily="34" charset="0"/>
        <a:buChar char="•"/>
        <a:defRPr sz="1333" kern="0">
          <a:solidFill>
            <a:schemeClr val="tx1"/>
          </a:solidFill>
          <a:latin typeface="+mn-lt"/>
          <a:ea typeface="+mn-ea"/>
          <a:cs typeface="+mn-cs"/>
        </a:defRPr>
      </a:lvl1pPr>
      <a:lvl2pPr marL="342853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–"/>
        <a:defRPr sz="1333" kern="0">
          <a:solidFill>
            <a:schemeClr val="tx1"/>
          </a:solidFill>
          <a:latin typeface="+mn-lt"/>
          <a:ea typeface="+mn-ea"/>
          <a:cs typeface="+mn-cs"/>
        </a:defRPr>
      </a:lvl2pPr>
      <a:lvl3pPr marL="514279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•"/>
        <a:defRPr sz="1333" kern="0">
          <a:solidFill>
            <a:schemeClr val="tx1"/>
          </a:solidFill>
          <a:latin typeface="+mn-lt"/>
          <a:ea typeface="+mn-ea"/>
          <a:cs typeface="+mn-cs"/>
        </a:defRPr>
      </a:lvl3pPr>
      <a:lvl4pPr marL="685705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4pPr>
      <a:lvl5pPr marL="857132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5pPr>
      <a:lvl6pPr marL="1028558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6pPr>
      <a:lvl7pPr marL="1199985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7pPr>
      <a:lvl8pPr marL="1371412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8pPr>
      <a:lvl9pPr marL="1542838" indent="-171426" algn="l" defTabSz="870847" rtl="0" eaLnBrk="1" latinLnBrk="0" hangingPunct="1">
        <a:spcBef>
          <a:spcPts val="286"/>
        </a:spcBef>
        <a:buFont typeface="Arial" panose="020B0604020202020204" pitchFamily="34" charset="0"/>
        <a:buChar char="-"/>
        <a:defRPr sz="1333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1pPr>
      <a:lvl2pPr marL="171426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2pPr>
      <a:lvl3pPr marL="342853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3pPr>
      <a:lvl4pPr marL="514279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4pPr>
      <a:lvl5pPr marL="685705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5pPr>
      <a:lvl6pPr marL="857132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6pPr>
      <a:lvl7pPr marL="1028558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7pPr>
      <a:lvl8pPr marL="1199985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8pPr>
      <a:lvl9pPr marL="1371412" algn="l" defTabSz="870847" rtl="0" eaLnBrk="1" latinLnBrk="0" hangingPunct="1">
        <a:defRPr sz="1143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66" userDrawn="1">
          <p15:clr>
            <a:srgbClr val="F26B43"/>
          </p15:clr>
        </p15:guide>
        <p15:guide id="2" pos="7314" userDrawn="1">
          <p15:clr>
            <a:srgbClr val="F26B43"/>
          </p15:clr>
        </p15:guide>
        <p15:guide id="3" orient="horz" pos="242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3986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EB5F7943-C150-4920-B3E8-4721AA14FC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EB5F7943-C150-4920-B3E8-4721AA14F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B46930C4-3EC4-4E71-BADB-05FECE64424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dirty="0">
              <a:solidFill>
                <a:schemeClr val="tx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3" y="384048"/>
            <a:ext cx="11030857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80573" y="1399032"/>
            <a:ext cx="11030857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5/14/2023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453219" y="6547104"/>
            <a:ext cx="16030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US" sz="1000" smtClean="0">
                <a:solidFill>
                  <a:schemeClr val="accent3"/>
                </a:solidFill>
              </a:rPr>
              <a:pPr marL="0" marR="0" indent="0" algn="r" defTabSz="914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022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</p:sldLayoutIdLst>
  <p:txStyles>
    <p:titleStyle>
      <a:lvl1pPr algn="l" defTabSz="914370" rtl="0" eaLnBrk="1" latinLnBrk="0" hangingPunct="1">
        <a:lnSpc>
          <a:spcPct val="88000"/>
        </a:lnSpc>
        <a:spcBef>
          <a:spcPct val="0"/>
        </a:spcBef>
        <a:buNone/>
        <a:defRPr sz="20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994" indent="-179994" algn="l" defTabSz="91437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59988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39982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1997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899971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66" userDrawn="1">
          <p15:clr>
            <a:srgbClr val="F26B43"/>
          </p15:clr>
        </p15:guide>
        <p15:guide id="2" pos="7314" userDrawn="1">
          <p15:clr>
            <a:srgbClr val="F26B43"/>
          </p15:clr>
        </p15:guide>
        <p15:guide id="3" orient="horz" pos="242" userDrawn="1">
          <p15:clr>
            <a:srgbClr val="F26B43"/>
          </p15:clr>
        </p15:guide>
        <p15:guide id="4" orient="horz" pos="881" userDrawn="1">
          <p15:clr>
            <a:srgbClr val="F26B43"/>
          </p15:clr>
        </p15:guide>
        <p15:guide id="5" orient="horz" pos="39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4.xml"/><Relationship Id="rId7" Type="http://schemas.openxmlformats.org/officeDocument/2006/relationships/image" Target="../media/image12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6.xml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6.xml"/><Relationship Id="rId7" Type="http://schemas.openxmlformats.org/officeDocument/2006/relationships/image" Target="../media/image12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8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6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8.xml"/><Relationship Id="rId7" Type="http://schemas.openxmlformats.org/officeDocument/2006/relationships/image" Target="../media/image12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6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60.xml"/><Relationship Id="rId7" Type="http://schemas.openxmlformats.org/officeDocument/2006/relationships/image" Target="../media/image12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8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6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EB806505-45FA-4E2F-84B0-918DCC581A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numCol="1"/>
          <a:lstStyle/>
          <a:p>
            <a:r>
              <a:rPr lang="en-US" dirty="0"/>
              <a:t>Mobile Emission Reduction Cred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496D663-46C2-41EB-86B0-CFFA91279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559" y="2485840"/>
            <a:ext cx="4853110" cy="270843"/>
          </a:xfrm>
        </p:spPr>
        <p:txBody>
          <a:bodyPr numCol="1"/>
          <a:lstStyle/>
          <a:p>
            <a:pPr>
              <a:buNone/>
            </a:pPr>
            <a:r>
              <a:rPr lang="en-US" sz="2000" dirty="0"/>
              <a:t>Incentives and Expanding Participation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40FFBA1-8396-4DCF-B2F4-5B68BE856E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8559" y="5939353"/>
            <a:ext cx="6162679" cy="276999"/>
          </a:xfrm>
        </p:spPr>
        <p:txBody>
          <a:bodyPr numCol="1"/>
          <a:lstStyle/>
          <a:p>
            <a:r>
              <a:rPr lang="en-US" dirty="0"/>
              <a:t>5/16/2023</a:t>
            </a:r>
          </a:p>
        </p:txBody>
      </p:sp>
    </p:spTree>
    <p:extLst>
      <p:ext uri="{BB962C8B-B14F-4D97-AF65-F5344CB8AC3E}">
        <p14:creationId xmlns:p14="http://schemas.microsoft.com/office/powerpoint/2010/main" val="11139015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21856F6-5199-4AC8-BC0E-647798E70C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6" imgW="156" imgH="161" progId="TCLayout.ActiveDocument.1">
                  <p:embed/>
                </p:oleObj>
              </mc:Choice>
              <mc:Fallback>
                <p:oleObj name="think-cell Slide" r:id="rId6" imgW="156" imgH="16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21856F6-5199-4AC8-BC0E-647798E70C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1EBEA0D-CF77-461F-8ACE-BCB65A34C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40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kern="0" dirty="0" err="1">
              <a:solidFill>
                <a:srgbClr val="57584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FD59C5-70AC-4610-804A-E39DDA9F7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752" y="424142"/>
            <a:ext cx="9929647" cy="376348"/>
          </a:xfrm>
        </p:spPr>
        <p:txBody>
          <a:bodyPr numCol="1"/>
          <a:lstStyle/>
          <a:p>
            <a:r>
              <a:rPr lang="en-US" sz="2400" dirty="0"/>
              <a:t>Getting Started</a:t>
            </a:r>
            <a:r>
              <a:rPr lang="en-US" sz="1800" dirty="0"/>
              <a:t/>
            </a:r>
            <a:br>
              <a:rPr lang="en-US" sz="1800" dirty="0"/>
            </a:br>
            <a:endParaRPr lang="en-US" sz="1800" dirty="0">
              <a:solidFill>
                <a:srgbClr val="7BB8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B70211A-5B50-49A8-8F5B-F34486D09F44}"/>
              </a:ext>
            </a:extLst>
          </p:cNvPr>
          <p:cNvSpPr txBox="1"/>
          <p:nvPr/>
        </p:nvSpPr>
        <p:spPr>
          <a:xfrm>
            <a:off x="509753" y="900123"/>
            <a:ext cx="11172495" cy="1985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kern="0" dirty="0">
              <a:solidFill>
                <a:schemeClr val="accent2"/>
              </a:solidFill>
              <a:latin typeface="+mj-lt"/>
            </a:endParaRPr>
          </a:p>
          <a:p>
            <a:endParaRPr lang="en-US" kern="0" dirty="0">
              <a:solidFill>
                <a:schemeClr val="accent2"/>
              </a:solidFill>
              <a:latin typeface="+mj-lt"/>
            </a:endParaRPr>
          </a:p>
          <a:p>
            <a:r>
              <a:rPr lang="en-US" kern="0" dirty="0">
                <a:solidFill>
                  <a:schemeClr val="accent2"/>
                </a:solidFill>
                <a:latin typeface="+mj-lt"/>
              </a:rPr>
              <a:t>Networking with the County – uncovering opportunities</a:t>
            </a:r>
            <a:endParaRPr lang="en-US" kern="0" dirty="0">
              <a:latin typeface="+mj-lt"/>
            </a:endParaRPr>
          </a:p>
          <a:p>
            <a:pPr marL="628644" lvl="1" indent="-171444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Maricopa County &amp; EPA Region 9</a:t>
            </a:r>
          </a:p>
          <a:p>
            <a:pPr marL="1085844" lvl="2" indent="-171444"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Tesla</a:t>
            </a:r>
          </a:p>
          <a:p>
            <a:pPr marL="1085844" lvl="2" indent="-171444"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Intel Expansion</a:t>
            </a:r>
          </a:p>
          <a:p>
            <a:pPr marL="1085844" lvl="2" indent="-171444">
              <a:buFont typeface="Arial" panose="020B0604020202020204" pitchFamily="34" charset="0"/>
              <a:buChar char="•"/>
            </a:pPr>
            <a:r>
              <a:rPr lang="en-US" sz="1500" dirty="0">
                <a:latin typeface="+mj-lt"/>
              </a:rPr>
              <a:t>Taiwan Semi-conductor</a:t>
            </a:r>
            <a:endParaRPr lang="en-US" sz="2000" kern="0" dirty="0"/>
          </a:p>
          <a:p>
            <a:pPr marL="171444" indent="-171444">
              <a:buFont typeface="Arial" panose="020B0604020202020204" pitchFamily="34" charset="0"/>
              <a:buChar char="•"/>
            </a:pPr>
            <a:endParaRPr lang="en-US" sz="1200" kern="0" dirty="0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xmlns="" id="{7D862CBF-827F-4C2B-A791-0701AE9C23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1688" y="6220229"/>
            <a:ext cx="1229393" cy="5415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CB788AB-FE7D-4212-B3B9-6F2343C495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40682" y="4465162"/>
            <a:ext cx="3051318" cy="239283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9EF84263-3C22-4DCC-BBA6-122F315D1C5E}"/>
              </a:ext>
            </a:extLst>
          </p:cNvPr>
          <p:cNvSpPr txBox="1"/>
          <p:nvPr/>
        </p:nvSpPr>
        <p:spPr>
          <a:xfrm>
            <a:off x="509752" y="3318377"/>
            <a:ext cx="11172495" cy="15696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kern="0" dirty="0">
                <a:solidFill>
                  <a:schemeClr val="accent2"/>
                </a:solidFill>
                <a:latin typeface="+mj-lt"/>
              </a:rPr>
              <a:t>Brainstorming ERC Ideas with Intel and Consultants on Stationary Sourc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redits for sources shut-down = 2 IC Engin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Upgrading Flares from Utility to Enclos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Engine Plant Upgra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u="sng" dirty="0">
                <a:latin typeface="+mj-lt"/>
              </a:rPr>
              <a:t>Then</a:t>
            </a:r>
            <a:r>
              <a:rPr lang="en-US" dirty="0">
                <a:latin typeface="+mj-lt"/>
              </a:rPr>
              <a:t> selected WM’s CNG Trucks (Corp Initiative to Replace Diesel 1/10</a:t>
            </a:r>
            <a:r>
              <a:rPr lang="en-US" baseline="30000" dirty="0">
                <a:latin typeface="+mj-lt"/>
              </a:rPr>
              <a:t>th</a:t>
            </a:r>
            <a:r>
              <a:rPr lang="en-US" dirty="0">
                <a:latin typeface="+mj-lt"/>
              </a:rPr>
              <a:t> Emissions)  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2016157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21856F6-5199-4AC8-BC0E-647798E70C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6" imgW="156" imgH="161" progId="TCLayout.ActiveDocument.1">
                  <p:embed/>
                </p:oleObj>
              </mc:Choice>
              <mc:Fallback>
                <p:oleObj name="think-cell Slide" r:id="rId6" imgW="156" imgH="16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21856F6-5199-4AC8-BC0E-647798E70C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1EBEA0D-CF77-461F-8ACE-BCB65A34C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40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kern="0" dirty="0" err="1">
              <a:solidFill>
                <a:srgbClr val="57584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FD59C5-70AC-4610-804A-E39DDA9F7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753" y="384049"/>
            <a:ext cx="9929647" cy="376348"/>
          </a:xfrm>
        </p:spPr>
        <p:txBody>
          <a:bodyPr numCol="1"/>
          <a:lstStyle/>
          <a:p>
            <a:r>
              <a:rPr lang="en-US" sz="2400" dirty="0"/>
              <a:t>The Process</a:t>
            </a:r>
            <a:br>
              <a:rPr lang="en-US" sz="2400" dirty="0"/>
            </a:br>
            <a:endParaRPr lang="en-US" dirty="0">
              <a:solidFill>
                <a:srgbClr val="7BB8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B70211A-5B50-49A8-8F5B-F34486D09F44}"/>
              </a:ext>
            </a:extLst>
          </p:cNvPr>
          <p:cNvSpPr txBox="1"/>
          <p:nvPr/>
        </p:nvSpPr>
        <p:spPr>
          <a:xfrm>
            <a:off x="615631" y="1391893"/>
            <a:ext cx="11172495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kern="0" dirty="0">
                <a:solidFill>
                  <a:schemeClr val="accent2"/>
                </a:solidFill>
                <a:latin typeface="+mj-lt"/>
              </a:rPr>
              <a:t>Approvable Methodology- </a:t>
            </a:r>
            <a:endParaRPr lang="en-US" kern="0" dirty="0">
              <a:latin typeface="+mj-lt"/>
            </a:endParaRPr>
          </a:p>
          <a:p>
            <a:pPr marL="628644" lvl="1" indent="-171444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General Reluctance for Mobile Credits</a:t>
            </a:r>
          </a:p>
          <a:p>
            <a:pPr marL="628644" lvl="1" indent="-171444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EPA Standards ERCs – Real, Quantifiable, Voluntary, Permanent &amp; Enforceable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endParaRPr lang="en-US" sz="1200" kern="0" dirty="0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xmlns="" id="{7D862CBF-827F-4C2B-A791-0701AE9C23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1688" y="6220229"/>
            <a:ext cx="1229393" cy="5415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CB788AB-FE7D-4212-B3B9-6F2343C495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40682" y="4465162"/>
            <a:ext cx="3051318" cy="239283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1B1721C-DEAF-480B-B7DD-27DCC706DC77}"/>
              </a:ext>
            </a:extLst>
          </p:cNvPr>
          <p:cNvSpPr txBox="1"/>
          <p:nvPr/>
        </p:nvSpPr>
        <p:spPr>
          <a:xfrm>
            <a:off x="615631" y="2917059"/>
            <a:ext cx="11271569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kern="0" dirty="0">
                <a:solidFill>
                  <a:schemeClr val="accent2"/>
                </a:solidFill>
                <a:latin typeface="+mj-lt"/>
              </a:rPr>
              <a:t>No Regulatory Path for MERCs bu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latin typeface="+mj-lt"/>
              </a:rPr>
              <a:t>County and EPA agreement on calculation and using permit modific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latin typeface="+mj-lt"/>
              </a:rPr>
              <a:t>Precedence In San Diego and Texa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latin typeface="+mj-lt"/>
              </a:rPr>
              <a:t>Lead to a MERC Rule in Maricopa County, and maybe useful for Other Districts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endParaRPr lang="en-US" sz="1200" kern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366A4B5-0112-4E43-8FDC-848F7FA48A20}"/>
              </a:ext>
            </a:extLst>
          </p:cNvPr>
          <p:cNvSpPr txBox="1"/>
          <p:nvPr/>
        </p:nvSpPr>
        <p:spPr>
          <a:xfrm>
            <a:off x="615631" y="4383495"/>
            <a:ext cx="7188853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kern="0" dirty="0">
                <a:solidFill>
                  <a:schemeClr val="accent2"/>
                </a:solidFill>
                <a:latin typeface="+mj-lt"/>
              </a:rPr>
              <a:t>Key Steps along the wa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Agencies Agree on the Regulatory Path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Methodology of the Emissions Calculations &amp; Load Facto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Permit Condition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latin typeface="+mj-lt"/>
              </a:rPr>
              <a:t>Contracting ERCs between Intel and W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latin typeface="+mj-lt"/>
              </a:rPr>
              <a:t>Maricopa Certified MER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latin typeface="+mj-lt"/>
              </a:rPr>
              <a:t>ADEQ ERC Banking System </a:t>
            </a:r>
          </a:p>
          <a:p>
            <a:endParaRPr lang="en-US" kern="0" dirty="0">
              <a:latin typeface="+mj-lt"/>
            </a:endParaRPr>
          </a:p>
          <a:p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3605873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21856F6-5199-4AC8-BC0E-647798E70C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6" imgW="156" imgH="161" progId="TCLayout.ActiveDocument.1">
                  <p:embed/>
                </p:oleObj>
              </mc:Choice>
              <mc:Fallback>
                <p:oleObj name="think-cell Slide" r:id="rId6" imgW="156" imgH="16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21856F6-5199-4AC8-BC0E-647798E70C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1EBEA0D-CF77-461F-8ACE-BCB65A34C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40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kern="0" dirty="0" err="1">
              <a:solidFill>
                <a:srgbClr val="57584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FD59C5-70AC-4610-804A-E39DDA9F7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753" y="384049"/>
            <a:ext cx="9929647" cy="376348"/>
          </a:xfrm>
        </p:spPr>
        <p:txBody>
          <a:bodyPr numCol="1"/>
          <a:lstStyle/>
          <a:p>
            <a:r>
              <a:rPr lang="en-US" sz="2400" dirty="0"/>
              <a:t>On-going effort for the life of the credits </a:t>
            </a:r>
            <a:br>
              <a:rPr lang="en-US" sz="2400" dirty="0"/>
            </a:br>
            <a:endParaRPr lang="en-US" dirty="0">
              <a:solidFill>
                <a:srgbClr val="7BB8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B70211A-5B50-49A8-8F5B-F34486D09F44}"/>
              </a:ext>
            </a:extLst>
          </p:cNvPr>
          <p:cNvSpPr txBox="1"/>
          <p:nvPr/>
        </p:nvSpPr>
        <p:spPr>
          <a:xfrm>
            <a:off x="586755" y="1125827"/>
            <a:ext cx="11172495" cy="37856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Permit Modifications with the CNG trucks listing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Maintain 225 trucks and pull in replacements for retired unit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Tracking and retain records of the Scrap/Disposal of the retired units to show they are not operat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Operating and Maintenance Record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Mileage tracking with GPS and </a:t>
            </a:r>
            <a:r>
              <a:rPr lang="en-US" kern="0" dirty="0" err="1">
                <a:solidFill>
                  <a:schemeClr val="accent2"/>
                </a:solidFill>
                <a:latin typeface="+mj-lt"/>
              </a:rPr>
              <a:t>Ipad</a:t>
            </a:r>
            <a:r>
              <a:rPr lang="en-US" kern="0" dirty="0">
                <a:solidFill>
                  <a:schemeClr val="accent2"/>
                </a:solidFill>
                <a:latin typeface="+mj-lt"/>
              </a:rPr>
              <a:t> driver log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WM Compass data base logs mileage and service/repair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Prepare spreadsheets listing the trucks, mileage and maintenance on a monthly basis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Perform Annual Emission Calculations and Reporting</a:t>
            </a:r>
          </a:p>
          <a:p>
            <a:pPr marL="628644" lvl="1" indent="-171444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marL="171444" indent="-171444">
              <a:buFont typeface="Arial" panose="020B0604020202020204" pitchFamily="34" charset="0"/>
              <a:buChar char="•"/>
            </a:pPr>
            <a:endParaRPr lang="en-US" sz="1200" kern="0" dirty="0"/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xmlns="" id="{7D862CBF-827F-4C2B-A791-0701AE9C23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1688" y="6220229"/>
            <a:ext cx="1229393" cy="5415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CB788AB-FE7D-4212-B3B9-6F2343C495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40682" y="4465162"/>
            <a:ext cx="3051318" cy="239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818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21856F6-5199-4AC8-BC0E-647798E70C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6" imgW="156" imgH="161" progId="TCLayout.ActiveDocument.1">
                  <p:embed/>
                </p:oleObj>
              </mc:Choice>
              <mc:Fallback>
                <p:oleObj name="think-cell Slide" r:id="rId6" imgW="156" imgH="16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21856F6-5199-4AC8-BC0E-647798E70C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1EBEA0D-CF77-461F-8ACE-BCB65A34C1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9540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kern="0" dirty="0" err="1">
              <a:solidFill>
                <a:srgbClr val="57584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FD59C5-70AC-4610-804A-E39DDA9F7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753" y="384049"/>
            <a:ext cx="9929647" cy="376348"/>
          </a:xfrm>
        </p:spPr>
        <p:txBody>
          <a:bodyPr numCol="1"/>
          <a:lstStyle/>
          <a:p>
            <a:r>
              <a:rPr lang="en-US" sz="2400" dirty="0"/>
              <a:t>Thinking Green – and even Greener</a:t>
            </a:r>
            <a:br>
              <a:rPr lang="en-US" sz="2400" dirty="0"/>
            </a:br>
            <a:endParaRPr lang="en-US" dirty="0">
              <a:solidFill>
                <a:srgbClr val="7BB800"/>
              </a:solidFill>
            </a:endParaRPr>
          </a:p>
        </p:txBody>
      </p:sp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xmlns="" id="{7D862CBF-827F-4C2B-A791-0701AE9C23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1688" y="6220229"/>
            <a:ext cx="1229393" cy="54151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CB788AB-FE7D-4212-B3B9-6F2343C495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40682" y="4465162"/>
            <a:ext cx="3051318" cy="23928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8E9B6B38-967A-4BE3-95BB-549824E68CCE}"/>
              </a:ext>
            </a:extLst>
          </p:cNvPr>
          <p:cNvSpPr txBox="1"/>
          <p:nvPr/>
        </p:nvSpPr>
        <p:spPr>
          <a:xfrm>
            <a:off x="750234" y="1727968"/>
            <a:ext cx="11172495" cy="2677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kern="0" dirty="0">
                <a:solidFill>
                  <a:schemeClr val="accent2"/>
                </a:solidFill>
                <a:latin typeface="+mj-lt"/>
              </a:rPr>
              <a:t>Closing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We need to look at all the “tools” impact the valley vehicle smog and Non-Attainment Are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Paving the way for recognition of MERC’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Using an incentive-based system which will expand participation to reduce emiss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Creates new partnerships, WM new partner with Inte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Further enhance our agency relationships by teaming with Maricopa County, ADEQ, Region 9 EP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accent2"/>
                </a:solidFill>
                <a:latin typeface="+mj-lt"/>
              </a:rPr>
              <a:t>Sources can get additional funding for upgrades/advancements that reduce emiss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kern="0" dirty="0">
              <a:latin typeface="+mj-lt"/>
            </a:endParaRPr>
          </a:p>
          <a:p>
            <a:endParaRPr lang="en-US" kern="0" dirty="0">
              <a:latin typeface="+mj-lt"/>
            </a:endParaRPr>
          </a:p>
          <a:p>
            <a:pPr marL="171444" indent="-171444">
              <a:buFont typeface="Arial" panose="020B0604020202020204" pitchFamily="34" charset="0"/>
              <a:buChar char="•"/>
            </a:pPr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9375809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tH0fqLBEjof1C3EzUH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977rpw6Qu8bCwaB8aY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fxBvnxQ3mtnsHJ3Pp0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fxBvnxQ3mtnsHJ3Pp0X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SAYxeyKwtptjKHbRs3Z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z5PY8ACK0aRFKFa2bR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etMk_W.fZcYy2Fb7W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P31b8Q4jjJKgQNKTr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ijP8B4Lf6Eott8aN.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4y5TlElye1btQacyXR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jnzCuvmYDRBAtG9D7EI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WX8Io7Bva9AtF40eM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RDl6HqTE2OjHCQlk.ns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95dScf8DNbmEWk72w3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KbeKT8.OVx2Q4Oc7h24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eeDcK3UNWUOkQnY0sP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k8kb.VdiisOknwFu0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xWS_I1Jbe6Dt4oOAL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l_FQM86WfGbZWgcyT9x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v7z7khw_RX2fiAhWgP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1rJ1n0FzADltX8ZPdiS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WmVqRAb5x0yrjZ4rDG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tH0fqLBEjof1C3EzU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977rpw6Qu8bCwaB8aY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Qf_uDJXqO8w76HaBMFG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Qf_uDJXqO8w76HaBMFG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Qf_uDJXqO8w76HaBMFG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Qf_uDJXqO8w76HaBMF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SAYxeyKwtptjKHbRs3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z5PY8ACK0aRFKFa2b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etMk_W.fZcYy2Fb7W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P31b8Q4jjJKgQNKTr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ijP8B4Lf6Eott8aN.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4y5TlElye1btQacyXR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fxBvnxQ3mtnsHJ3Pp0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jnzCuvmYDRBAtG9D7E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WX8Io7Bva9AtF40eM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95dScf8DNbmEWk72w3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KbeKT8.OVx2Q4Oc7h2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eeDcK3UNWUOkQnY0sP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k8kb.VdiisOknwFu0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xWS_I1Jbe6Dt4oOAL4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l_FQM86WfGbZWgcyT9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v7z7khw_RX2fiAhWg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1rJ1n0FzADltX8ZPdiS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WmVqRAb5x0yrjZ4rD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tH0fqLBEjof1C3EzU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977rpw6Qu8bCwaB8aY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VT6sfRUm1.mgXj3Ek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VT6sfRUm1.mgXj3Ek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VT6sfRUm1.mgXj3Ek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VT6sfRUm1.mgXj3Ek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fxBvnxQ3mtnsHJ3Pp0X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SAYxeyKwtptjKHbRs3Z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z5PY8ACK0aRFKFa2b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etMk_W.fZcYy2Fb7Wa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P31b8Q4jjJKgQNKTr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ijP8B4Lf6Eott8aN.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4y5TlElye1btQacyXR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jnzCuvmYDRBAtG9D7EI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fxBvnxQ3mtnsHJ3Pp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WX8Io7Bva9AtF40eMZ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95dScf8DNbmEWk72w3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KbeKT8.OVx2Q4Oc7h24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eeDcK3UNWUOkQnY0sP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Qk8kb.VdiisOknwFu0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xWS_I1Jbe6Dt4oOAL4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l_FQM86WfGbZWgcyT9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Pv7z7khw_RX2fiAhWgP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1rJ1n0FzADltX8ZPdi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WmVqRAb5x0yrjZ4rD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W_WasteManagement">
  <a:themeElements>
    <a:clrScheme name="OW_WM">
      <a:dk1>
        <a:srgbClr val="57584F"/>
      </a:dk1>
      <a:lt1>
        <a:sysClr val="window" lastClr="FFFFFF"/>
      </a:lt1>
      <a:dk2>
        <a:srgbClr val="00693C"/>
      </a:dk2>
      <a:lt2>
        <a:srgbClr val="024731"/>
      </a:lt2>
      <a:accent1>
        <a:srgbClr val="7BB800"/>
      </a:accent1>
      <a:accent2>
        <a:srgbClr val="3C8A2E"/>
      </a:accent2>
      <a:accent3>
        <a:srgbClr val="57584F"/>
      </a:accent3>
      <a:accent4>
        <a:srgbClr val="C6C6BC"/>
      </a:accent4>
      <a:accent5>
        <a:srgbClr val="B3D48E"/>
      </a:accent5>
      <a:accent6>
        <a:srgbClr val="FECB00"/>
      </a:accent6>
      <a:hlink>
        <a:srgbClr val="BED600"/>
      </a:hlink>
      <a:folHlink>
        <a:srgbClr val="CBCBCB"/>
      </a:folHlink>
    </a:clrScheme>
    <a:fontScheme name="OW_W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20190820 Mark Preferred Template.potx" id="{203F4566-4C07-4FE6-AFD8-C4492D99BD58}" vid="{57F3DD08-1D06-4D8C-83AF-F72EE098EFC7}"/>
    </a:ext>
  </a:extLst>
</a:theme>
</file>

<file path=ppt/theme/theme2.xml><?xml version="1.0" encoding="utf-8"?>
<a:theme xmlns:a="http://schemas.openxmlformats.org/drawingml/2006/main" name="1_OW_WasteManagement">
  <a:themeElements>
    <a:clrScheme name="OW_WM">
      <a:dk1>
        <a:srgbClr val="57584F"/>
      </a:dk1>
      <a:lt1>
        <a:sysClr val="window" lastClr="FFFFFF"/>
      </a:lt1>
      <a:dk2>
        <a:srgbClr val="00693C"/>
      </a:dk2>
      <a:lt2>
        <a:srgbClr val="024731"/>
      </a:lt2>
      <a:accent1>
        <a:srgbClr val="7BB800"/>
      </a:accent1>
      <a:accent2>
        <a:srgbClr val="3C8A2E"/>
      </a:accent2>
      <a:accent3>
        <a:srgbClr val="57584F"/>
      </a:accent3>
      <a:accent4>
        <a:srgbClr val="C6C6BC"/>
      </a:accent4>
      <a:accent5>
        <a:srgbClr val="B3D48E"/>
      </a:accent5>
      <a:accent6>
        <a:srgbClr val="FECB00"/>
      </a:accent6>
      <a:hlink>
        <a:srgbClr val="BED600"/>
      </a:hlink>
      <a:folHlink>
        <a:srgbClr val="CBCBCB"/>
      </a:folHlink>
    </a:clrScheme>
    <a:fontScheme name="OW_W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20190820 Mark Preferred Template.potx" id="{203F4566-4C07-4FE6-AFD8-C4492D99BD58}" vid="{57F3DD08-1D06-4D8C-83AF-F72EE098EFC7}"/>
    </a:ext>
  </a:extLst>
</a:theme>
</file>

<file path=ppt/theme/theme3.xml><?xml version="1.0" encoding="utf-8"?>
<a:theme xmlns:a="http://schemas.openxmlformats.org/drawingml/2006/main" name="Theme1">
  <a:themeElements>
    <a:clrScheme name="Waste Management">
      <a:dk1>
        <a:srgbClr val="57584F"/>
      </a:dk1>
      <a:lt1>
        <a:srgbClr val="FFFFFF"/>
      </a:lt1>
      <a:dk2>
        <a:srgbClr val="00693C"/>
      </a:dk2>
      <a:lt2>
        <a:srgbClr val="C6C6BC"/>
      </a:lt2>
      <a:accent1>
        <a:srgbClr val="FECB00"/>
      </a:accent1>
      <a:accent2>
        <a:srgbClr val="024731"/>
      </a:accent2>
      <a:accent3>
        <a:srgbClr val="3C8A2E"/>
      </a:accent3>
      <a:accent4>
        <a:srgbClr val="BED600"/>
      </a:accent4>
      <a:accent5>
        <a:srgbClr val="57584F"/>
      </a:accent5>
      <a:accent6>
        <a:srgbClr val="7AB800"/>
      </a:accent6>
      <a:hlink>
        <a:srgbClr val="BED600"/>
      </a:hlink>
      <a:folHlink>
        <a:srgbClr val="C6C6C6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9144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25000"/>
          </a:lnSpc>
          <a:spcBef>
            <a:spcPct val="0"/>
          </a:spcBef>
          <a:spcAft>
            <a:spcPct val="0"/>
          </a:spcAft>
          <a:buClrTx/>
          <a:buSzTx/>
          <a:buFont typeface="Trebuchet MS" charset="0"/>
          <a:buNone/>
          <a:tabLst/>
          <a:defRPr kumimoji="0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rebuchet MS" charset="0"/>
          </a:defRPr>
        </a:defPPr>
      </a:lstStyle>
    </a:spDef>
    <a:lnDef>
      <a:spPr>
        <a:ln w="19050">
          <a:solidFill>
            <a:schemeClr val="tx1"/>
          </a:solidFill>
          <a:headEnd type="none" w="med" len="med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sz="2000" dirty="0" smtClean="0">
            <a:latin typeface="Trebuchet MS" pitchFamily="34" charset="0"/>
            <a:cs typeface="Arial" pitchFamily="34" charset="0"/>
          </a:defRPr>
        </a:defPPr>
      </a:lstStyle>
    </a:txDef>
  </a:objectDefaults>
  <a:extraClrSchemeLst>
    <a:extraClrScheme>
      <a:clrScheme name="Default Design 1">
        <a:dk1>
          <a:srgbClr val="57584F"/>
        </a:dk1>
        <a:lt1>
          <a:srgbClr val="FFFFFF"/>
        </a:lt1>
        <a:dk2>
          <a:srgbClr val="00693C"/>
        </a:dk2>
        <a:lt2>
          <a:srgbClr val="C6C6BC"/>
        </a:lt2>
        <a:accent1>
          <a:srgbClr val="FECB00"/>
        </a:accent1>
        <a:accent2>
          <a:srgbClr val="7AB800"/>
        </a:accent2>
        <a:accent3>
          <a:srgbClr val="FFFFFF"/>
        </a:accent3>
        <a:accent4>
          <a:srgbClr val="494A42"/>
        </a:accent4>
        <a:accent5>
          <a:srgbClr val="FEE2AA"/>
        </a:accent5>
        <a:accent6>
          <a:srgbClr val="6EA600"/>
        </a:accent6>
        <a:hlink>
          <a:srgbClr val="BED600"/>
        </a:hlink>
        <a:folHlink>
          <a:srgbClr val="3C8A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OW_WasteManagement">
  <a:themeElements>
    <a:clrScheme name="OW_WM">
      <a:dk1>
        <a:srgbClr val="57584F"/>
      </a:dk1>
      <a:lt1>
        <a:sysClr val="window" lastClr="FFFFFF"/>
      </a:lt1>
      <a:dk2>
        <a:srgbClr val="00693C"/>
      </a:dk2>
      <a:lt2>
        <a:srgbClr val="024731"/>
      </a:lt2>
      <a:accent1>
        <a:srgbClr val="7BB800"/>
      </a:accent1>
      <a:accent2>
        <a:srgbClr val="3C8A2E"/>
      </a:accent2>
      <a:accent3>
        <a:srgbClr val="57584F"/>
      </a:accent3>
      <a:accent4>
        <a:srgbClr val="C6C6BC"/>
      </a:accent4>
      <a:accent5>
        <a:srgbClr val="B3D48E"/>
      </a:accent5>
      <a:accent6>
        <a:srgbClr val="FECB00"/>
      </a:accent6>
      <a:hlink>
        <a:srgbClr val="BED600"/>
      </a:hlink>
      <a:folHlink>
        <a:srgbClr val="CBCBCB"/>
      </a:folHlink>
    </a:clrScheme>
    <a:fontScheme name="OW_W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3" id="{B76FEB4C-55E8-40D1-9E78-F2E140F82792}" vid="{6C395452-E935-46F6-BDDF-8621C1C7AD7F}"/>
    </a:ext>
  </a:extLst>
</a:theme>
</file>

<file path=ppt/theme/theme5.xml><?xml version="1.0" encoding="utf-8"?>
<a:theme xmlns:a="http://schemas.openxmlformats.org/drawingml/2006/main" name="4_OW_WasteManagement">
  <a:themeElements>
    <a:clrScheme name="OW_WM">
      <a:dk1>
        <a:srgbClr val="57584F"/>
      </a:dk1>
      <a:lt1>
        <a:sysClr val="window" lastClr="FFFFFF"/>
      </a:lt1>
      <a:dk2>
        <a:srgbClr val="00693C"/>
      </a:dk2>
      <a:lt2>
        <a:srgbClr val="024731"/>
      </a:lt2>
      <a:accent1>
        <a:srgbClr val="7BB800"/>
      </a:accent1>
      <a:accent2>
        <a:srgbClr val="3C8A2E"/>
      </a:accent2>
      <a:accent3>
        <a:srgbClr val="57584F"/>
      </a:accent3>
      <a:accent4>
        <a:srgbClr val="C6C6BC"/>
      </a:accent4>
      <a:accent5>
        <a:srgbClr val="B3D48E"/>
      </a:accent5>
      <a:accent6>
        <a:srgbClr val="FECB00"/>
      </a:accent6>
      <a:hlink>
        <a:srgbClr val="BED600"/>
      </a:hlink>
      <a:folHlink>
        <a:srgbClr val="CBCBCB"/>
      </a:folHlink>
    </a:clrScheme>
    <a:fontScheme name="OW_W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3" id="{B76FEB4C-55E8-40D1-9E78-F2E140F82792}" vid="{6C395452-E935-46F6-BDDF-8621C1C7AD7F}"/>
    </a:ext>
  </a:extLst>
</a:theme>
</file>

<file path=ppt/theme/theme6.xml><?xml version="1.0" encoding="utf-8"?>
<a:theme xmlns:a="http://schemas.openxmlformats.org/drawingml/2006/main" name="2_OW_WasteManagement">
  <a:themeElements>
    <a:clrScheme name="OW_WM">
      <a:dk1>
        <a:srgbClr val="57584F"/>
      </a:dk1>
      <a:lt1>
        <a:sysClr val="window" lastClr="FFFFFF"/>
      </a:lt1>
      <a:dk2>
        <a:srgbClr val="00693C"/>
      </a:dk2>
      <a:lt2>
        <a:srgbClr val="024731"/>
      </a:lt2>
      <a:accent1>
        <a:srgbClr val="7BB800"/>
      </a:accent1>
      <a:accent2>
        <a:srgbClr val="3C8A2E"/>
      </a:accent2>
      <a:accent3>
        <a:srgbClr val="57584F"/>
      </a:accent3>
      <a:accent4>
        <a:srgbClr val="C6C6BC"/>
      </a:accent4>
      <a:accent5>
        <a:srgbClr val="B3D48E"/>
      </a:accent5>
      <a:accent6>
        <a:srgbClr val="FECB00"/>
      </a:accent6>
      <a:hlink>
        <a:srgbClr val="BED600"/>
      </a:hlink>
      <a:folHlink>
        <a:srgbClr val="CBCBCB"/>
      </a:folHlink>
    </a:clrScheme>
    <a:fontScheme name="OW_WM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3" id="{B76FEB4C-55E8-40D1-9E78-F2E140F82792}" vid="{6C395452-E935-46F6-BDDF-8621C1C7AD7F}"/>
    </a:ext>
  </a:extLst>
</a:theme>
</file>

<file path=ppt/theme/theme7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anilla.potx" id="{22C88B83-592E-41EC-9EF9-9A0374C5CECE}" vid="{E1F90C0E-1C18-4989-BACD-AFFB6BEC7234}"/>
    </a:ext>
  </a:extLst>
</a:theme>
</file>

<file path=ppt/theme/theme8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Vanilla.potx" id="{22C88B83-592E-41EC-9EF9-9A0374C5CECE}" vid="{E1F90C0E-1C18-4989-BACD-AFFB6BEC723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FA81D2EE030F4BBE9DD77620C70455" ma:contentTypeVersion="6" ma:contentTypeDescription="Create a new document." ma:contentTypeScope="" ma:versionID="fe3eb9f870423ec7f401f5fee4e5d9a8">
  <xsd:schema xmlns:xsd="http://www.w3.org/2001/XMLSchema" xmlns:xs="http://www.w3.org/2001/XMLSchema" xmlns:p="http://schemas.microsoft.com/office/2006/metadata/properties" xmlns:ns2="f32ba26c-9e4b-4634-b903-65348617c2c1" targetNamespace="http://schemas.microsoft.com/office/2006/metadata/properties" ma:root="true" ma:fieldsID="c74955287d13723cfd45b6e96f57d579" ns2:_="">
    <xsd:import namespace="f32ba26c-9e4b-4634-b903-65348617c2c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PMRAnalyst" minOccurs="0"/>
                <xsd:element ref="ns2:MarketArea" minOccurs="0"/>
                <xsd:element ref="ns2:Year" minOccurs="0"/>
                <xsd:element ref="ns2:PMR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2ba26c-9e4b-4634-b903-65348617c2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PMRAnalyst" ma:index="10" nillable="true" ma:displayName="PMR Analyst" ma:format="Dropdown" ma:list="UserInfo" ma:SharePointGroup="0" ma:internalName="PMRAnalys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arketArea" ma:index="11" nillable="true" ma:displayName="Area" ma:format="Dropdown" ma:internalName="MarketArea">
      <xsd:simpleType>
        <xsd:restriction base="dms:Choice">
          <xsd:enumeration value="South Atlantic"/>
          <xsd:enumeration value="PNW"/>
          <xsd:enumeration value="ILMV"/>
          <xsd:enumeration value="Texoma"/>
          <xsd:enumeration value="Gulf Coast"/>
          <xsd:enumeration value="North Cal"/>
          <xsd:enumeration value="South Cal"/>
          <xsd:enumeration value="Four Corners"/>
          <xsd:enumeration value="WPA"/>
          <xsd:enumeration value="GMA"/>
          <xsd:enumeration value="WM of Florida"/>
          <xsd:enumeration value="WMRE"/>
          <xsd:enumeration value="WMRA"/>
        </xsd:restriction>
      </xsd:simpleType>
    </xsd:element>
    <xsd:element name="Year" ma:index="12" nillable="true" ma:displayName="Year" ma:format="Dropdown" ma:internalName="Year">
      <xsd:simpleType>
        <xsd:restriction base="dms:Choice">
          <xsd:enumeration value="2019"/>
          <xsd:enumeration value="2020"/>
          <xsd:enumeration value="2021"/>
        </xsd:restriction>
      </xsd:simpleType>
    </xsd:element>
    <xsd:element name="PMR_x0020_Type" ma:index="13" nillable="true" ma:displayName="PMR Type" ma:default="Project" ma:format="Dropdown" ma:internalName="PMR_x0020_Type">
      <xsd:simpleType>
        <xsd:restriction base="dms:Choice">
          <xsd:enumeration value="Project"/>
          <xsd:enumeration value="Contract"/>
          <xsd:enumeration value="Acquisit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f32ba26c-9e4b-4634-b903-65348617c2c1" xsi:nil="true"/>
    <MarketArea xmlns="f32ba26c-9e4b-4634-b903-65348617c2c1" xsi:nil="true"/>
    <PMRAnalyst xmlns="f32ba26c-9e4b-4634-b903-65348617c2c1">
      <UserInfo>
        <DisplayName/>
        <AccountId>Allie Butler</AccountId>
        <AccountType/>
      </UserInfo>
    </PMRAnalyst>
    <PMR_x0020_Type xmlns="f32ba26c-9e4b-4634-b903-65348617c2c1">Project</PMR_x0020_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ontrol xmlns="http://schemas.microsoft.com/VisualStudio/2011/storyboarding/control">
  <Id Name="c1c4fb7c-d602-4db2-a34d-f4661f049ee5" Revision="1" Stencil="Icons_2" StencilVersion="1.0"/>
</Control>
</file>

<file path=customXml/itemProps1.xml><?xml version="1.0" encoding="utf-8"?>
<ds:datastoreItem xmlns:ds="http://schemas.openxmlformats.org/officeDocument/2006/customXml" ds:itemID="{82EBC1A6-385F-4CFA-B5CD-F4E1D281C7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2ba26c-9e4b-4634-b903-65348617c2c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361B909-6D81-45EA-973F-BDEE4843A69A}">
  <ds:schemaRefs>
    <ds:schemaRef ds:uri="http://schemas.microsoft.com/office/infopath/2007/PartnerControls"/>
    <ds:schemaRef ds:uri="f32ba26c-9e4b-4634-b903-65348617c2c1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4A3C3CD-DF01-44B1-B1A3-F7F0B422311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1AF8D1B-E422-4D8F-B0AD-AA7389AFE3A0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C Presentation</Template>
  <TotalTime>1018</TotalTime>
  <Words>327</Words>
  <Application>Microsoft Office PowerPoint</Application>
  <PresentationFormat>Custom</PresentationFormat>
  <Paragraphs>54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OW_WasteManagement</vt:lpstr>
      <vt:lpstr>1_OW_WasteManagement</vt:lpstr>
      <vt:lpstr>Theme1</vt:lpstr>
      <vt:lpstr>3_OW_WasteManagement</vt:lpstr>
      <vt:lpstr>4_OW_WasteManagement</vt:lpstr>
      <vt:lpstr>2_OW_WasteManagement</vt:lpstr>
      <vt:lpstr>think-cell Slide</vt:lpstr>
      <vt:lpstr>PowerPoint Presentation</vt:lpstr>
      <vt:lpstr>Getting Started </vt:lpstr>
      <vt:lpstr>The Process </vt:lpstr>
      <vt:lpstr>On-going effort for the life of the credits  </vt:lpstr>
      <vt:lpstr>Thinking Green – and even Greener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chego, Denise</dc:creator>
  <cp:keywords>TemplateVersion: DTP.PPTVanilla.20180920.1</cp:keywords>
  <cp:lastModifiedBy>jimth</cp:lastModifiedBy>
  <cp:revision>61</cp:revision>
  <dcterms:created xsi:type="dcterms:W3CDTF">2022-02-28T02:54:01Z</dcterms:created>
  <dcterms:modified xsi:type="dcterms:W3CDTF">2023-05-15T02:0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7/09/01</vt:lpwstr>
  </property>
  <property fmtid="{D5CDD505-2E9C-101B-9397-08002B2CF9AE}" pid="3" name="DocumentMSOLanguageID">
    <vt:lpwstr>msoLanguageIDEnglishUS</vt:lpwstr>
  </property>
  <property fmtid="{D5CDD505-2E9C-101B-9397-08002B2CF9AE}" pid="4" name="ContentTypeId">
    <vt:lpwstr>0x01010027FA81D2EE030F4BBE9DD77620C70455</vt:lpwstr>
  </property>
  <property fmtid="{D5CDD505-2E9C-101B-9397-08002B2CF9AE}" pid="5" name="PMRAnalyst">
    <vt:lpwstr>Allie Butler</vt:lpwstr>
  </property>
</Properties>
</file>